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4" r:id="rId1"/>
  </p:sldMasterIdLst>
  <p:notesMasterIdLst>
    <p:notesMasterId r:id="rId17"/>
  </p:notesMasterIdLst>
  <p:handoutMasterIdLst>
    <p:handoutMasterId r:id="rId18"/>
  </p:handoutMasterIdLst>
  <p:sldIdLst>
    <p:sldId id="501" r:id="rId2"/>
    <p:sldId id="712" r:id="rId3"/>
    <p:sldId id="713" r:id="rId4"/>
    <p:sldId id="714" r:id="rId5"/>
    <p:sldId id="715" r:id="rId6"/>
    <p:sldId id="716" r:id="rId7"/>
    <p:sldId id="717" r:id="rId8"/>
    <p:sldId id="718" r:id="rId9"/>
    <p:sldId id="700" r:id="rId10"/>
    <p:sldId id="701" r:id="rId11"/>
    <p:sldId id="702" r:id="rId12"/>
    <p:sldId id="708" r:id="rId13"/>
    <p:sldId id="710" r:id="rId14"/>
    <p:sldId id="665" r:id="rId15"/>
    <p:sldId id="706" r:id="rId16"/>
  </p:sldIdLst>
  <p:sldSz cx="12192000" cy="6858000"/>
  <p:notesSz cx="6797675" cy="9926638"/>
  <p:defaultTextStyle>
    <a:defPPr>
      <a:defRPr lang="ru-RU"/>
    </a:defPPr>
    <a:lvl1pPr algn="l" defTabSz="8937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46088" indent="9525" algn="l" defTabSz="8937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893763" indent="17463" algn="l" defTabSz="8937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41438" indent="26988" algn="l" defTabSz="8937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790700" indent="34925" algn="l" defTabSz="8937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AA18465-7648-4131-ADBB-1CB00E4C1C2E}">
          <p14:sldIdLst>
            <p14:sldId id="501"/>
            <p14:sldId id="712"/>
            <p14:sldId id="713"/>
            <p14:sldId id="714"/>
            <p14:sldId id="715"/>
            <p14:sldId id="716"/>
            <p14:sldId id="717"/>
            <p14:sldId id="718"/>
            <p14:sldId id="700"/>
            <p14:sldId id="701"/>
            <p14:sldId id="702"/>
            <p14:sldId id="708"/>
            <p14:sldId id="710"/>
            <p14:sldId id="665"/>
            <p14:sldId id="706"/>
          </p14:sldIdLst>
        </p14:section>
        <p14:section name="Раздел без заголовка" id="{9DE2E9CF-CE28-45EE-B0CB-4272E096B03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1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CE4444"/>
    <a:srgbClr val="ED7E30"/>
    <a:srgbClr val="DB4A37"/>
    <a:srgbClr val="DF8949"/>
    <a:srgbClr val="002960"/>
    <a:srgbClr val="003366"/>
    <a:srgbClr val="0092DC"/>
    <a:srgbClr val="69A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75" autoAdjust="0"/>
    <p:restoredTop sz="86303" autoAdjust="0"/>
  </p:normalViewPr>
  <p:slideViewPr>
    <p:cSldViewPr>
      <p:cViewPr varScale="1">
        <p:scale>
          <a:sx n="100" d="100"/>
          <a:sy n="100" d="100"/>
        </p:scale>
        <p:origin x="972" y="90"/>
      </p:cViewPr>
      <p:guideLst>
        <p:guide orient="horz" pos="2161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yakma\Desktop\&#1050;&#1085;&#1080;&#1075;&#1072;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9763940649313"/>
          <c:y val="5.9037623170467332E-2"/>
          <c:w val="0.68065452755905576"/>
          <c:h val="0.69406028543307163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529559904"/>
        <c:axId val="-529547936"/>
      </c:barChart>
      <c:catAx>
        <c:axId val="-529559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529547936"/>
        <c:crosses val="autoZero"/>
        <c:auto val="1"/>
        <c:lblAlgn val="ctr"/>
        <c:lblOffset val="100"/>
        <c:noMultiLvlLbl val="0"/>
      </c:catAx>
      <c:valAx>
        <c:axId val="-5295479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529559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>
        <a:lumMod val="40000"/>
        <a:lumOff val="60000"/>
      </a:schemeClr>
    </a:solidFill>
    <a:ln>
      <a:noFill/>
    </a:ln>
    <a:effectLst>
      <a:softEdge rad="101600"/>
    </a:effectLst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359295713035871E-2"/>
          <c:y val="0.1311451568127848"/>
          <c:w val="0.61919050743657045"/>
          <c:h val="0.77314814814814814"/>
        </c:manualLayout>
      </c:layout>
      <c:pie3DChart>
        <c:varyColors val="1"/>
        <c:ser>
          <c:idx val="0"/>
          <c:order val="0"/>
          <c:dPt>
            <c:idx val="1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2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G$4:$K$4</c:f>
              <c:strCache>
                <c:ptCount val="5"/>
                <c:pt idx="0">
                  <c:v>вечерние шк.</c:v>
                </c:pt>
                <c:pt idx="1">
                  <c:v>основная шк.</c:v>
                </c:pt>
                <c:pt idx="2">
                  <c:v>средние шк.</c:v>
                </c:pt>
                <c:pt idx="3">
                  <c:v>гимназия</c:v>
                </c:pt>
                <c:pt idx="4">
                  <c:v>лицеи</c:v>
                </c:pt>
              </c:strCache>
            </c:strRef>
          </c:cat>
          <c:val>
            <c:numRef>
              <c:f>Лист1!$G$5:$K$5</c:f>
              <c:numCache>
                <c:formatCode>0.00%</c:formatCode>
                <c:ptCount val="5"/>
                <c:pt idx="0">
                  <c:v>1.6E-2</c:v>
                </c:pt>
                <c:pt idx="1">
                  <c:v>6.0000000000000001E-3</c:v>
                </c:pt>
                <c:pt idx="2">
                  <c:v>0.86599999999999999</c:v>
                </c:pt>
                <c:pt idx="3">
                  <c:v>3.6999999999999998E-2</c:v>
                </c:pt>
                <c:pt idx="4">
                  <c:v>7.59999999999999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75526531058617663"/>
          <c:y val="0.17496609798775156"/>
          <c:w val="0.2058458005249344"/>
          <c:h val="0.5075904389909238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D480A0-8B23-4399-9CDE-72A9CE545FA2}" type="doc">
      <dgm:prSet loTypeId="urn:microsoft.com/office/officeart/2008/layout/PictureStrips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5AAF7F44-FC24-49CC-B719-A943E95F9A54}">
      <dgm:prSet phldrT="[Текст]" custT="1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dirty="0">
              <a:solidFill>
                <a:schemeClr val="accent1">
                  <a:lumMod val="50000"/>
                </a:schemeClr>
              </a:solidFill>
            </a:rPr>
            <a:t>Муниципальных бюджетных дошкольных образовательных учреждений</a:t>
          </a:r>
        </a:p>
      </dgm:t>
    </dgm:pt>
    <dgm:pt modelId="{6D451125-2D2B-48AC-8475-CB977F93BB0B}" type="parTrans" cxnId="{3371AC2C-A934-4142-82CB-DAD68DE8EE8C}">
      <dgm:prSet/>
      <dgm:spPr/>
      <dgm:t>
        <a:bodyPr/>
        <a:lstStyle/>
        <a:p>
          <a:endParaRPr lang="ru-RU"/>
        </a:p>
      </dgm:t>
    </dgm:pt>
    <dgm:pt modelId="{B61E1C69-5549-4C3F-B675-ECBB0433CC88}" type="sibTrans" cxnId="{3371AC2C-A934-4142-82CB-DAD68DE8EE8C}">
      <dgm:prSet/>
      <dgm:spPr/>
      <dgm:t>
        <a:bodyPr/>
        <a:lstStyle/>
        <a:p>
          <a:endParaRPr lang="ru-RU"/>
        </a:p>
      </dgm:t>
    </dgm:pt>
    <dgm:pt modelId="{6939FC60-49EB-42B3-8CAB-6E91C23C1504}">
      <dgm:prSet phldrT="[Текст]" custT="1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400" dirty="0">
              <a:solidFill>
                <a:schemeClr val="tx2">
                  <a:lumMod val="75000"/>
                  <a:lumOff val="25000"/>
                </a:schemeClr>
              </a:solidFill>
            </a:rPr>
            <a:t>Автономная некоммерческая дошкольная образовательная организация Центр раннего развития  </a:t>
          </a:r>
          <a:r>
            <a:rPr lang="ru-RU" sz="1400" b="1" dirty="0">
              <a:solidFill>
                <a:schemeClr val="tx2">
                  <a:lumMod val="75000"/>
                  <a:lumOff val="25000"/>
                </a:schemeClr>
              </a:solidFill>
            </a:rPr>
            <a:t> «Теремок»</a:t>
          </a:r>
        </a:p>
      </dgm:t>
    </dgm:pt>
    <dgm:pt modelId="{D25DAAFF-9D9C-45CE-9588-1650C17731FB}" type="sibTrans" cxnId="{4CE6E6CB-56B6-4ECF-8E82-CA7134EA97B2}">
      <dgm:prSet/>
      <dgm:spPr/>
      <dgm:t>
        <a:bodyPr/>
        <a:lstStyle/>
        <a:p>
          <a:endParaRPr lang="ru-RU"/>
        </a:p>
      </dgm:t>
    </dgm:pt>
    <dgm:pt modelId="{C8DD9D97-A41C-443C-97F4-AE7264E2C2BB}" type="parTrans" cxnId="{4CE6E6CB-56B6-4ECF-8E82-CA7134EA97B2}">
      <dgm:prSet/>
      <dgm:spPr/>
      <dgm:t>
        <a:bodyPr/>
        <a:lstStyle/>
        <a:p>
          <a:endParaRPr lang="ru-RU"/>
        </a:p>
      </dgm:t>
    </dgm:pt>
    <dgm:pt modelId="{2D451938-C589-40BD-BEE3-31BEA1C6A096}">
      <dgm:prSet phldrT="[Текст]" custT="1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pPr marL="0" indent="0"/>
          <a:r>
            <a:rPr lang="ru-RU" sz="1400" dirty="0">
              <a:solidFill>
                <a:schemeClr val="accent1">
                  <a:lumMod val="50000"/>
                </a:schemeClr>
              </a:solidFill>
            </a:rPr>
            <a:t>Муниципальное автономное дошкольное образовательное учреждение</a:t>
          </a:r>
        </a:p>
      </dgm:t>
    </dgm:pt>
    <dgm:pt modelId="{33A27132-58B8-40F2-BC09-267B4EC79807}" type="sibTrans" cxnId="{30BC7CAB-37C7-4C50-B888-78C28139B6E6}">
      <dgm:prSet/>
      <dgm:spPr/>
      <dgm:t>
        <a:bodyPr/>
        <a:lstStyle/>
        <a:p>
          <a:endParaRPr lang="ru-RU"/>
        </a:p>
      </dgm:t>
    </dgm:pt>
    <dgm:pt modelId="{AC768EFA-B404-4FDC-9A76-BCD3E8009324}" type="parTrans" cxnId="{30BC7CAB-37C7-4C50-B888-78C28139B6E6}">
      <dgm:prSet/>
      <dgm:spPr/>
      <dgm:t>
        <a:bodyPr/>
        <a:lstStyle/>
        <a:p>
          <a:endParaRPr lang="ru-RU"/>
        </a:p>
      </dgm:t>
    </dgm:pt>
    <dgm:pt modelId="{CC090F2F-E657-40B4-8424-20BF29816B9F}" type="pres">
      <dgm:prSet presAssocID="{C2D480A0-8B23-4399-9CDE-72A9CE545FA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0443253-212B-4331-AB68-89501E80EE61}" type="pres">
      <dgm:prSet presAssocID="{5AAF7F44-FC24-49CC-B719-A943E95F9A54}" presName="composite" presStyleCnt="0"/>
      <dgm:spPr/>
    </dgm:pt>
    <dgm:pt modelId="{138C85CC-8CB8-4023-910F-E15A8C1CF476}" type="pres">
      <dgm:prSet presAssocID="{5AAF7F44-FC24-49CC-B719-A943E95F9A54}" presName="rect1" presStyleLbl="trAlignAcc1" presStyleIdx="0" presStyleCnt="3" custScaleX="108873" custScaleY="76889" custLinFactNeighborX="-2370" custLinFactNeighborY="117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CE6D6F-FAEA-4CF1-BD22-E42298D45979}" type="pres">
      <dgm:prSet presAssocID="{5AAF7F44-FC24-49CC-B719-A943E95F9A54}" presName="rect2" presStyleLbl="fgImgPlace1" presStyleIdx="0" presStyleCnt="3" custScaleX="94165" custScaleY="29752" custLinFactX="-89442" custLinFactNeighborX="-100000" custLinFactNeighborY="-8645"/>
      <dgm:spPr/>
    </dgm:pt>
    <dgm:pt modelId="{B0B46E7A-2BE5-47DA-9017-3D262CBBF9BC}" type="pres">
      <dgm:prSet presAssocID="{B61E1C69-5549-4C3F-B675-ECBB0433CC88}" presName="sibTrans" presStyleCnt="0"/>
      <dgm:spPr/>
    </dgm:pt>
    <dgm:pt modelId="{F3F97B1A-AAB3-4A11-926C-326505E1E5FC}" type="pres">
      <dgm:prSet presAssocID="{2D451938-C589-40BD-BEE3-31BEA1C6A096}" presName="composite" presStyleCnt="0"/>
      <dgm:spPr/>
    </dgm:pt>
    <dgm:pt modelId="{9AF06FBC-D887-4AA9-859E-42082FCBA20C}" type="pres">
      <dgm:prSet presAssocID="{2D451938-C589-40BD-BEE3-31BEA1C6A096}" presName="rect1" presStyleLbl="trAlignAcc1" presStyleIdx="1" presStyleCnt="3" custScaleY="56314" custLinFactNeighborX="-5313" custLinFactNeighborY="-47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EC85EE-0C45-4DB9-B248-5D6FB9E46050}" type="pres">
      <dgm:prSet presAssocID="{2D451938-C589-40BD-BEE3-31BEA1C6A096}" presName="rect2" presStyleLbl="fgImgPlace1" presStyleIdx="1" presStyleCnt="3" custLinFactX="-100000" custLinFactNeighborX="-107943" custLinFactNeighborY="-5466"/>
      <dgm:spPr/>
    </dgm:pt>
    <dgm:pt modelId="{6EE64107-9C94-4D87-8A43-06083BEC3CF7}" type="pres">
      <dgm:prSet presAssocID="{33A27132-58B8-40F2-BC09-267B4EC79807}" presName="sibTrans" presStyleCnt="0"/>
      <dgm:spPr/>
    </dgm:pt>
    <dgm:pt modelId="{01ABA49B-B231-4055-9A84-DEE97F53AAF7}" type="pres">
      <dgm:prSet presAssocID="{6939FC60-49EB-42B3-8CAB-6E91C23C1504}" presName="composite" presStyleCnt="0"/>
      <dgm:spPr/>
    </dgm:pt>
    <dgm:pt modelId="{9234DBD8-80E9-4DDA-BE77-79EF6C7B6632}" type="pres">
      <dgm:prSet presAssocID="{6939FC60-49EB-42B3-8CAB-6E91C23C1504}" presName="rect1" presStyleLbl="trAlignAcc1" presStyleIdx="2" presStyleCnt="3" custScaleX="108337" custScaleY="71000" custLinFactNeighborX="-2475" custLinFactNeighborY="-22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0B55F8-01D0-4A9D-96B5-A0B3EDA9974E}" type="pres">
      <dgm:prSet presAssocID="{6939FC60-49EB-42B3-8CAB-6E91C23C1504}" presName="rect2" presStyleLbl="fgImgPlace1" presStyleIdx="2" presStyleCnt="3" custScaleX="133573" custScaleY="82142" custLinFactNeighborX="-64364" custLinFactNeighborY="-5198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blipFill rotWithShape="1">
          <a:blip xmlns:r="http://schemas.openxmlformats.org/officeDocument/2006/relationships" r:embed="rId1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a:blip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</dgm:ptLst>
  <dgm:cxnLst>
    <dgm:cxn modelId="{3371AC2C-A934-4142-82CB-DAD68DE8EE8C}" srcId="{C2D480A0-8B23-4399-9CDE-72A9CE545FA2}" destId="{5AAF7F44-FC24-49CC-B719-A943E95F9A54}" srcOrd="0" destOrd="0" parTransId="{6D451125-2D2B-48AC-8475-CB977F93BB0B}" sibTransId="{B61E1C69-5549-4C3F-B675-ECBB0433CC88}"/>
    <dgm:cxn modelId="{1420203C-5F80-439F-A2B2-1F7075CCAC11}" type="presOf" srcId="{6939FC60-49EB-42B3-8CAB-6E91C23C1504}" destId="{9234DBD8-80E9-4DDA-BE77-79EF6C7B6632}" srcOrd="0" destOrd="0" presId="urn:microsoft.com/office/officeart/2008/layout/PictureStrips"/>
    <dgm:cxn modelId="{E1F46150-79F6-4F83-AA31-C80F4A40281A}" type="presOf" srcId="{5AAF7F44-FC24-49CC-B719-A943E95F9A54}" destId="{138C85CC-8CB8-4023-910F-E15A8C1CF476}" srcOrd="0" destOrd="0" presId="urn:microsoft.com/office/officeart/2008/layout/PictureStrips"/>
    <dgm:cxn modelId="{4CE6E6CB-56B6-4ECF-8E82-CA7134EA97B2}" srcId="{C2D480A0-8B23-4399-9CDE-72A9CE545FA2}" destId="{6939FC60-49EB-42B3-8CAB-6E91C23C1504}" srcOrd="2" destOrd="0" parTransId="{C8DD9D97-A41C-443C-97F4-AE7264E2C2BB}" sibTransId="{D25DAAFF-9D9C-45CE-9588-1650C17731FB}"/>
    <dgm:cxn modelId="{3B2A092E-7282-4F5B-8A47-09794F31DB1E}" type="presOf" srcId="{C2D480A0-8B23-4399-9CDE-72A9CE545FA2}" destId="{CC090F2F-E657-40B4-8424-20BF29816B9F}" srcOrd="0" destOrd="0" presId="urn:microsoft.com/office/officeart/2008/layout/PictureStrips"/>
    <dgm:cxn modelId="{30BC7CAB-37C7-4C50-B888-78C28139B6E6}" srcId="{C2D480A0-8B23-4399-9CDE-72A9CE545FA2}" destId="{2D451938-C589-40BD-BEE3-31BEA1C6A096}" srcOrd="1" destOrd="0" parTransId="{AC768EFA-B404-4FDC-9A76-BCD3E8009324}" sibTransId="{33A27132-58B8-40F2-BC09-267B4EC79807}"/>
    <dgm:cxn modelId="{3CAD4889-33E2-42DD-8AAF-4A52A2CBF087}" type="presOf" srcId="{2D451938-C589-40BD-BEE3-31BEA1C6A096}" destId="{9AF06FBC-D887-4AA9-859E-42082FCBA20C}" srcOrd="0" destOrd="0" presId="urn:microsoft.com/office/officeart/2008/layout/PictureStrips"/>
    <dgm:cxn modelId="{8A56500D-8813-4921-B030-AB2F8F0A8689}" type="presParOf" srcId="{CC090F2F-E657-40B4-8424-20BF29816B9F}" destId="{C0443253-212B-4331-AB68-89501E80EE61}" srcOrd="0" destOrd="0" presId="urn:microsoft.com/office/officeart/2008/layout/PictureStrips"/>
    <dgm:cxn modelId="{C26EB853-1FCE-4DF0-A98C-299F6A6A3828}" type="presParOf" srcId="{C0443253-212B-4331-AB68-89501E80EE61}" destId="{138C85CC-8CB8-4023-910F-E15A8C1CF476}" srcOrd="0" destOrd="0" presId="urn:microsoft.com/office/officeart/2008/layout/PictureStrips"/>
    <dgm:cxn modelId="{530B3311-3168-4A48-AFE1-53D16C0AA000}" type="presParOf" srcId="{C0443253-212B-4331-AB68-89501E80EE61}" destId="{C5CE6D6F-FAEA-4CF1-BD22-E42298D45979}" srcOrd="1" destOrd="0" presId="urn:microsoft.com/office/officeart/2008/layout/PictureStrips"/>
    <dgm:cxn modelId="{A1469DD1-EB4D-4CB0-ADAB-72001AB1AA8E}" type="presParOf" srcId="{CC090F2F-E657-40B4-8424-20BF29816B9F}" destId="{B0B46E7A-2BE5-47DA-9017-3D262CBBF9BC}" srcOrd="1" destOrd="0" presId="urn:microsoft.com/office/officeart/2008/layout/PictureStrips"/>
    <dgm:cxn modelId="{B92282AC-AE6F-404A-BF25-B9523453C346}" type="presParOf" srcId="{CC090F2F-E657-40B4-8424-20BF29816B9F}" destId="{F3F97B1A-AAB3-4A11-926C-326505E1E5FC}" srcOrd="2" destOrd="0" presId="urn:microsoft.com/office/officeart/2008/layout/PictureStrips"/>
    <dgm:cxn modelId="{821206FE-B87D-49BD-BBFD-AC5C13E630DE}" type="presParOf" srcId="{F3F97B1A-AAB3-4A11-926C-326505E1E5FC}" destId="{9AF06FBC-D887-4AA9-859E-42082FCBA20C}" srcOrd="0" destOrd="0" presId="urn:microsoft.com/office/officeart/2008/layout/PictureStrips"/>
    <dgm:cxn modelId="{85C22B59-B8AC-4CF4-85BF-2E22B05B4DC9}" type="presParOf" srcId="{F3F97B1A-AAB3-4A11-926C-326505E1E5FC}" destId="{E0EC85EE-0C45-4DB9-B248-5D6FB9E46050}" srcOrd="1" destOrd="0" presId="urn:microsoft.com/office/officeart/2008/layout/PictureStrips"/>
    <dgm:cxn modelId="{B5E086FE-14BC-4ACB-9CC9-54B872416CB4}" type="presParOf" srcId="{CC090F2F-E657-40B4-8424-20BF29816B9F}" destId="{6EE64107-9C94-4D87-8A43-06083BEC3CF7}" srcOrd="3" destOrd="0" presId="urn:microsoft.com/office/officeart/2008/layout/PictureStrips"/>
    <dgm:cxn modelId="{D6A52B81-2EEE-4C69-BF28-1E3FD484CD73}" type="presParOf" srcId="{CC090F2F-E657-40B4-8424-20BF29816B9F}" destId="{01ABA49B-B231-4055-9A84-DEE97F53AAF7}" srcOrd="4" destOrd="0" presId="urn:microsoft.com/office/officeart/2008/layout/PictureStrips"/>
    <dgm:cxn modelId="{63F3D757-2920-43EF-B832-97D07F92E16B}" type="presParOf" srcId="{01ABA49B-B231-4055-9A84-DEE97F53AAF7}" destId="{9234DBD8-80E9-4DDA-BE77-79EF6C7B6632}" srcOrd="0" destOrd="0" presId="urn:microsoft.com/office/officeart/2008/layout/PictureStrips"/>
    <dgm:cxn modelId="{675E78A2-1A92-4DF2-9312-DADEA23FAC3B}" type="presParOf" srcId="{01ABA49B-B231-4055-9A84-DEE97F53AAF7}" destId="{520B55F8-01D0-4A9D-96B5-A0B3EDA9974E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9FD277E-F1EC-49D5-80B6-396EA7260783}" type="doc">
      <dgm:prSet loTypeId="urn:microsoft.com/office/officeart/2005/8/layout/matrix1" loCatId="matrix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503005-41D5-40A7-BF45-743CDEDD83B3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effectLst>
          <a:glow rad="2286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28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075 классов</a:t>
          </a:r>
          <a:endParaRPr lang="ru-RU" sz="2800" b="1" i="1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E90139F-3122-4622-8464-4732537580CA}" type="parTrans" cxnId="{E53FF199-07E6-4301-9569-EAB58E1DDAF4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15EDF8A2-28AF-4464-B623-6FB0DD4DBDA8}" type="sibTrans" cxnId="{E53FF199-07E6-4301-9569-EAB58E1DDAF4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A0D9E559-D871-49A5-8A53-667FF81C36B4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effectLst>
          <a:glow rad="2286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28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7480 учащихся</a:t>
          </a:r>
          <a:endParaRPr lang="ru-RU" sz="2800" b="1" i="1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3F4B558-707A-4CEA-AE09-F052C43800E3}" type="parTrans" cxnId="{66F4E623-E3D1-4FE9-A045-3156F38321E7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DA91C1C6-2452-4E22-97EE-1F061CC6182F}" type="sibTrans" cxnId="{66F4E623-E3D1-4FE9-A045-3156F38321E7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0BD6EC16-B6AD-4725-BCDE-1059BC9C6265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effectLst>
          <a:glow rad="2286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2800" b="1" i="1" dirty="0" smtClean="0">
              <a:solidFill>
                <a:srgbClr val="0029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739 первоклассников в 96 классах</a:t>
          </a:r>
          <a:endParaRPr lang="ru-RU" sz="2800" b="1" i="1" dirty="0">
            <a:solidFill>
              <a:srgbClr val="0029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2F097A-64A2-48F9-99E1-49985E30B969}" type="parTrans" cxnId="{ACEAA076-788F-4A00-A024-6113DFE7B878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16DAC453-C6A4-4A95-8C32-50E10099D24C}" type="sibTrans" cxnId="{ACEAA076-788F-4A00-A024-6113DFE7B878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1A35338E-8BDD-44AD-B7F0-F2D6AC7F1BEF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effectLst>
          <a:glow rad="2286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pPr algn="ctr"/>
          <a:r>
            <a:rPr lang="ru-RU" sz="23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480 выпускников 9-х классов </a:t>
          </a:r>
        </a:p>
        <a:p>
          <a:pPr algn="ctr"/>
          <a:r>
            <a:rPr lang="ru-RU" sz="23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 104 классах</a:t>
          </a:r>
        </a:p>
        <a:p>
          <a:pPr algn="ctr"/>
          <a:r>
            <a:rPr lang="ru-RU" sz="23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130 выпускников 11-х классов в 56 классах</a:t>
          </a:r>
          <a:endParaRPr lang="ru-RU" sz="2300" b="1" i="1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F1D9A16-4CA8-48EF-8CCB-BC2F469258B8}" type="parTrans" cxnId="{D6D6DCD9-0910-4FE7-B061-74CEFA401171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850591BE-285C-4F8B-8DDA-420B21B4E19F}" type="sibTrans" cxnId="{D6D6DCD9-0910-4FE7-B061-74CEFA401171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14C89689-076B-40EB-AA27-4292884DEB44}">
      <dgm:prSet phldrT="[Текст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effectLst>
          <a:glow rad="228600">
            <a:schemeClr val="accent4">
              <a:satMod val="175000"/>
              <a:alpha val="40000"/>
            </a:schemeClr>
          </a:glow>
        </a:effectLst>
      </dgm:spPr>
      <dgm:t>
        <a:bodyPr/>
        <a:lstStyle/>
        <a:p>
          <a:r>
            <a:rPr lang="ru-RU" sz="28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обновленным ФГОС</a:t>
          </a:r>
        </a:p>
        <a:p>
          <a:r>
            <a:rPr lang="ru-RU" sz="28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1-4 - е и 5-7-е, 10-е классы</a:t>
          </a:r>
        </a:p>
        <a:p>
          <a:r>
            <a:rPr lang="ru-RU" sz="2800" b="1" i="1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ФООП – 1-11 классы</a:t>
          </a:r>
        </a:p>
        <a:p>
          <a:endParaRPr lang="ru-RU" sz="2800" b="1" i="1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813C4E9-492A-46A0-AC85-B934D6FD6B74}" type="parTrans" cxnId="{D4F71237-5C44-4642-BE39-9A0BE9B42365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CDADC550-E4A6-401A-9331-2A426BF3C3EA}" type="sibTrans" cxnId="{D4F71237-5C44-4642-BE39-9A0BE9B42365}">
      <dgm:prSet/>
      <dgm:spPr/>
      <dgm:t>
        <a:bodyPr/>
        <a:lstStyle/>
        <a:p>
          <a:endParaRPr lang="ru-RU">
            <a:solidFill>
              <a:schemeClr val="accent1">
                <a:lumMod val="25000"/>
              </a:schemeClr>
            </a:solidFill>
          </a:endParaRPr>
        </a:p>
      </dgm:t>
    </dgm:pt>
    <dgm:pt modelId="{A8BC4F42-CCB3-482D-B7DB-0C4D8793D8F5}" type="pres">
      <dgm:prSet presAssocID="{59FD277E-F1EC-49D5-80B6-396EA7260783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9769830-B391-4721-A92C-A0578D370712}" type="pres">
      <dgm:prSet presAssocID="{59FD277E-F1EC-49D5-80B6-396EA7260783}" presName="matrix" presStyleCnt="0"/>
      <dgm:spPr/>
    </dgm:pt>
    <dgm:pt modelId="{068C22DD-484A-4804-A190-D5A47E04495B}" type="pres">
      <dgm:prSet presAssocID="{59FD277E-F1EC-49D5-80B6-396EA7260783}" presName="tile1" presStyleLbl="node1" presStyleIdx="0" presStyleCnt="4"/>
      <dgm:spPr/>
      <dgm:t>
        <a:bodyPr/>
        <a:lstStyle/>
        <a:p>
          <a:endParaRPr lang="ru-RU"/>
        </a:p>
      </dgm:t>
    </dgm:pt>
    <dgm:pt modelId="{E89D29DF-682E-414C-97A6-34A181F39B99}" type="pres">
      <dgm:prSet presAssocID="{59FD277E-F1EC-49D5-80B6-396EA726078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5B9B651-71E0-40D7-9AA4-A47EF28B53C9}" type="pres">
      <dgm:prSet presAssocID="{59FD277E-F1EC-49D5-80B6-396EA7260783}" presName="tile2" presStyleLbl="node1" presStyleIdx="1" presStyleCnt="4"/>
      <dgm:spPr/>
      <dgm:t>
        <a:bodyPr/>
        <a:lstStyle/>
        <a:p>
          <a:endParaRPr lang="ru-RU"/>
        </a:p>
      </dgm:t>
    </dgm:pt>
    <dgm:pt modelId="{43899144-E92C-4755-8EBC-27BBAB6D0657}" type="pres">
      <dgm:prSet presAssocID="{59FD277E-F1EC-49D5-80B6-396EA726078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C0C3F7-7ABE-488B-8F6D-56B866C2C0B0}" type="pres">
      <dgm:prSet presAssocID="{59FD277E-F1EC-49D5-80B6-396EA7260783}" presName="tile3" presStyleLbl="node1" presStyleIdx="2" presStyleCnt="4" custLinFactNeighborX="-62" custLinFactNeighborY="-2128"/>
      <dgm:spPr/>
      <dgm:t>
        <a:bodyPr/>
        <a:lstStyle/>
        <a:p>
          <a:endParaRPr lang="ru-RU"/>
        </a:p>
      </dgm:t>
    </dgm:pt>
    <dgm:pt modelId="{C6021BEA-AD94-4855-B5BD-5AE2BA61BA98}" type="pres">
      <dgm:prSet presAssocID="{59FD277E-F1EC-49D5-80B6-396EA726078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BCD827-842F-4045-BD96-D9B573EABF6C}" type="pres">
      <dgm:prSet presAssocID="{59FD277E-F1EC-49D5-80B6-396EA7260783}" presName="tile4" presStyleLbl="node1" presStyleIdx="3" presStyleCnt="4" custLinFactY="8511" custLinFactNeighborX="0" custLinFactNeighborY="100000"/>
      <dgm:spPr/>
      <dgm:t>
        <a:bodyPr/>
        <a:lstStyle/>
        <a:p>
          <a:endParaRPr lang="ru-RU"/>
        </a:p>
      </dgm:t>
    </dgm:pt>
    <dgm:pt modelId="{0F8C52A9-320C-4ACC-8B07-4CD1B0F16261}" type="pres">
      <dgm:prSet presAssocID="{59FD277E-F1EC-49D5-80B6-396EA726078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C8135A-8E62-42C3-9D7C-422500250937}" type="pres">
      <dgm:prSet presAssocID="{59FD277E-F1EC-49D5-80B6-396EA7260783}" presName="centerTile" presStyleLbl="fgShp" presStyleIdx="0" presStyleCnt="1" custLinFactNeighborX="1781" custLinFactNeighborY="-39362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1AF2C0E2-A903-497A-9E3C-1D61B873A2E9}" type="presOf" srcId="{A0D9E559-D871-49A5-8A53-667FF81C36B4}" destId="{E89D29DF-682E-414C-97A6-34A181F39B99}" srcOrd="1" destOrd="0" presId="urn:microsoft.com/office/officeart/2005/8/layout/matrix1"/>
    <dgm:cxn modelId="{ACEAA076-788F-4A00-A024-6113DFE7B878}" srcId="{E7503005-41D5-40A7-BF45-743CDEDD83B3}" destId="{0BD6EC16-B6AD-4725-BCDE-1059BC9C6265}" srcOrd="1" destOrd="0" parTransId="{272F097A-64A2-48F9-99E1-49985E30B969}" sibTransId="{16DAC453-C6A4-4A95-8C32-50E10099D24C}"/>
    <dgm:cxn modelId="{2AF6073D-5676-4F5A-B382-50ADF238B60C}" type="presOf" srcId="{14C89689-076B-40EB-AA27-4292884DEB44}" destId="{0EBCD827-842F-4045-BD96-D9B573EABF6C}" srcOrd="0" destOrd="0" presId="urn:microsoft.com/office/officeart/2005/8/layout/matrix1"/>
    <dgm:cxn modelId="{601F4160-6017-4104-BF98-05D56F9E33B7}" type="presOf" srcId="{14C89689-076B-40EB-AA27-4292884DEB44}" destId="{0F8C52A9-320C-4ACC-8B07-4CD1B0F16261}" srcOrd="1" destOrd="0" presId="urn:microsoft.com/office/officeart/2005/8/layout/matrix1"/>
    <dgm:cxn modelId="{2D7C84B5-2A0E-4F4F-991E-B7B668601D27}" type="presOf" srcId="{0BD6EC16-B6AD-4725-BCDE-1059BC9C6265}" destId="{05B9B651-71E0-40D7-9AA4-A47EF28B53C9}" srcOrd="0" destOrd="0" presId="urn:microsoft.com/office/officeart/2005/8/layout/matrix1"/>
    <dgm:cxn modelId="{16E645B3-6A4A-40B2-93E0-942D1F69A588}" type="presOf" srcId="{E7503005-41D5-40A7-BF45-743CDEDD83B3}" destId="{ABC8135A-8E62-42C3-9D7C-422500250937}" srcOrd="0" destOrd="0" presId="urn:microsoft.com/office/officeart/2005/8/layout/matrix1"/>
    <dgm:cxn modelId="{AD90700C-856B-4667-9CA6-D7FD6D80C0E4}" type="presOf" srcId="{1A35338E-8BDD-44AD-B7F0-F2D6AC7F1BEF}" destId="{C6021BEA-AD94-4855-B5BD-5AE2BA61BA98}" srcOrd="1" destOrd="0" presId="urn:microsoft.com/office/officeart/2005/8/layout/matrix1"/>
    <dgm:cxn modelId="{823F1672-7972-4B0C-AD25-7948C9B59318}" type="presOf" srcId="{59FD277E-F1EC-49D5-80B6-396EA7260783}" destId="{A8BC4F42-CCB3-482D-B7DB-0C4D8793D8F5}" srcOrd="0" destOrd="0" presId="urn:microsoft.com/office/officeart/2005/8/layout/matrix1"/>
    <dgm:cxn modelId="{9CF436BA-83E7-4493-9C1C-D57A221A94FC}" type="presOf" srcId="{0BD6EC16-B6AD-4725-BCDE-1059BC9C6265}" destId="{43899144-E92C-4755-8EBC-27BBAB6D0657}" srcOrd="1" destOrd="0" presId="urn:microsoft.com/office/officeart/2005/8/layout/matrix1"/>
    <dgm:cxn modelId="{E53FF199-07E6-4301-9569-EAB58E1DDAF4}" srcId="{59FD277E-F1EC-49D5-80B6-396EA7260783}" destId="{E7503005-41D5-40A7-BF45-743CDEDD83B3}" srcOrd="0" destOrd="0" parTransId="{CE90139F-3122-4622-8464-4732537580CA}" sibTransId="{15EDF8A2-28AF-4464-B623-6FB0DD4DBDA8}"/>
    <dgm:cxn modelId="{9C325F42-6F9E-484A-8DAD-60D087AB9A4B}" type="presOf" srcId="{A0D9E559-D871-49A5-8A53-667FF81C36B4}" destId="{068C22DD-484A-4804-A190-D5A47E04495B}" srcOrd="0" destOrd="0" presId="urn:microsoft.com/office/officeart/2005/8/layout/matrix1"/>
    <dgm:cxn modelId="{66F4E623-E3D1-4FE9-A045-3156F38321E7}" srcId="{E7503005-41D5-40A7-BF45-743CDEDD83B3}" destId="{A0D9E559-D871-49A5-8A53-667FF81C36B4}" srcOrd="0" destOrd="0" parTransId="{A3F4B558-707A-4CEA-AE09-F052C43800E3}" sibTransId="{DA91C1C6-2452-4E22-97EE-1F061CC6182F}"/>
    <dgm:cxn modelId="{D6D6DCD9-0910-4FE7-B061-74CEFA401171}" srcId="{E7503005-41D5-40A7-BF45-743CDEDD83B3}" destId="{1A35338E-8BDD-44AD-B7F0-F2D6AC7F1BEF}" srcOrd="2" destOrd="0" parTransId="{DF1D9A16-4CA8-48EF-8CCB-BC2F469258B8}" sibTransId="{850591BE-285C-4F8B-8DDA-420B21B4E19F}"/>
    <dgm:cxn modelId="{F090AB87-6EA0-4FCB-B27E-452E230A1EEF}" type="presOf" srcId="{1A35338E-8BDD-44AD-B7F0-F2D6AC7F1BEF}" destId="{FDC0C3F7-7ABE-488B-8F6D-56B866C2C0B0}" srcOrd="0" destOrd="0" presId="urn:microsoft.com/office/officeart/2005/8/layout/matrix1"/>
    <dgm:cxn modelId="{D4F71237-5C44-4642-BE39-9A0BE9B42365}" srcId="{E7503005-41D5-40A7-BF45-743CDEDD83B3}" destId="{14C89689-076B-40EB-AA27-4292884DEB44}" srcOrd="3" destOrd="0" parTransId="{1813C4E9-492A-46A0-AC85-B934D6FD6B74}" sibTransId="{CDADC550-E4A6-401A-9331-2A426BF3C3EA}"/>
    <dgm:cxn modelId="{5A987264-8BA4-4EF3-80DE-3DDE995BAE83}" type="presParOf" srcId="{A8BC4F42-CCB3-482D-B7DB-0C4D8793D8F5}" destId="{29769830-B391-4721-A92C-A0578D370712}" srcOrd="0" destOrd="0" presId="urn:microsoft.com/office/officeart/2005/8/layout/matrix1"/>
    <dgm:cxn modelId="{47CB8F52-A43E-43AF-B70B-3B7F808109EC}" type="presParOf" srcId="{29769830-B391-4721-A92C-A0578D370712}" destId="{068C22DD-484A-4804-A190-D5A47E04495B}" srcOrd="0" destOrd="0" presId="urn:microsoft.com/office/officeart/2005/8/layout/matrix1"/>
    <dgm:cxn modelId="{C14B19AE-3A77-454D-A207-5E11462A8621}" type="presParOf" srcId="{29769830-B391-4721-A92C-A0578D370712}" destId="{E89D29DF-682E-414C-97A6-34A181F39B99}" srcOrd="1" destOrd="0" presId="urn:microsoft.com/office/officeart/2005/8/layout/matrix1"/>
    <dgm:cxn modelId="{A61DB5B8-9652-498C-98E4-42E6EBAE108C}" type="presParOf" srcId="{29769830-B391-4721-A92C-A0578D370712}" destId="{05B9B651-71E0-40D7-9AA4-A47EF28B53C9}" srcOrd="2" destOrd="0" presId="urn:microsoft.com/office/officeart/2005/8/layout/matrix1"/>
    <dgm:cxn modelId="{0CBB49DB-9A44-4570-B12A-3AEB98AEDF92}" type="presParOf" srcId="{29769830-B391-4721-A92C-A0578D370712}" destId="{43899144-E92C-4755-8EBC-27BBAB6D0657}" srcOrd="3" destOrd="0" presId="urn:microsoft.com/office/officeart/2005/8/layout/matrix1"/>
    <dgm:cxn modelId="{C586DB3C-DDA4-48D4-8941-15846BD6094D}" type="presParOf" srcId="{29769830-B391-4721-A92C-A0578D370712}" destId="{FDC0C3F7-7ABE-488B-8F6D-56B866C2C0B0}" srcOrd="4" destOrd="0" presId="urn:microsoft.com/office/officeart/2005/8/layout/matrix1"/>
    <dgm:cxn modelId="{1107149E-A7B5-48E8-B8B2-C235AB638C7E}" type="presParOf" srcId="{29769830-B391-4721-A92C-A0578D370712}" destId="{C6021BEA-AD94-4855-B5BD-5AE2BA61BA98}" srcOrd="5" destOrd="0" presId="urn:microsoft.com/office/officeart/2005/8/layout/matrix1"/>
    <dgm:cxn modelId="{2DCABE3E-06E6-4C5F-81B9-A71C3F667E44}" type="presParOf" srcId="{29769830-B391-4721-A92C-A0578D370712}" destId="{0EBCD827-842F-4045-BD96-D9B573EABF6C}" srcOrd="6" destOrd="0" presId="urn:microsoft.com/office/officeart/2005/8/layout/matrix1"/>
    <dgm:cxn modelId="{4BBFBC6D-8DBD-4183-85C1-7E3424DCD974}" type="presParOf" srcId="{29769830-B391-4721-A92C-A0578D370712}" destId="{0F8C52A9-320C-4ACC-8B07-4CD1B0F16261}" srcOrd="7" destOrd="0" presId="urn:microsoft.com/office/officeart/2005/8/layout/matrix1"/>
    <dgm:cxn modelId="{DDE7F2AE-3B2B-4DB0-80FD-BA7BED75E985}" type="presParOf" srcId="{A8BC4F42-CCB3-482D-B7DB-0C4D8793D8F5}" destId="{ABC8135A-8E62-42C3-9D7C-422500250937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8C85CC-8CB8-4023-910F-E15A8C1CF476}">
      <dsp:nvSpPr>
        <dsp:cNvPr id="0" name=""/>
        <dsp:cNvSpPr/>
      </dsp:nvSpPr>
      <dsp:spPr>
        <a:xfrm>
          <a:off x="502963" y="288211"/>
          <a:ext cx="4124444" cy="9102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1859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accent1">
                  <a:lumMod val="50000"/>
                </a:schemeClr>
              </a:solidFill>
            </a:rPr>
            <a:t>Муниципальных бюджетных дошкольных образовательных учреждений</a:t>
          </a:r>
        </a:p>
      </dsp:txBody>
      <dsp:txXfrm>
        <a:off x="502963" y="288211"/>
        <a:ext cx="4124444" cy="910247"/>
      </dsp:txXfrm>
    </dsp:sp>
    <dsp:sp modelId="{C5CE6D6F-FAEA-4CF1-BD22-E42298D45979}">
      <dsp:nvSpPr>
        <dsp:cNvPr id="0" name=""/>
        <dsp:cNvSpPr/>
      </dsp:nvSpPr>
      <dsp:spPr>
        <a:xfrm>
          <a:off x="0" y="169956"/>
          <a:ext cx="780338" cy="369828"/>
        </a:xfrm>
        <a:prstGeom prst="rect">
          <a:avLst/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F06FBC-D887-4AA9-859E-42082FCBA20C}">
      <dsp:nvSpPr>
        <dsp:cNvPr id="0" name=""/>
        <dsp:cNvSpPr/>
      </dsp:nvSpPr>
      <dsp:spPr>
        <a:xfrm>
          <a:off x="638464" y="1567592"/>
          <a:ext cx="3788308" cy="66667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185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accent1">
                  <a:lumMod val="50000"/>
                </a:schemeClr>
              </a:solidFill>
            </a:rPr>
            <a:t>Муниципальное автономное дошкольное образовательное учреждение</a:t>
          </a:r>
        </a:p>
      </dsp:txBody>
      <dsp:txXfrm>
        <a:off x="638464" y="1567592"/>
        <a:ext cx="3788308" cy="666671"/>
      </dsp:txXfrm>
    </dsp:sp>
    <dsp:sp modelId="{E0EC85EE-0C45-4DB9-B248-5D6FB9E46050}">
      <dsp:nvSpPr>
        <dsp:cNvPr id="0" name=""/>
        <dsp:cNvSpPr/>
      </dsp:nvSpPr>
      <dsp:spPr>
        <a:xfrm>
          <a:off x="0" y="1126399"/>
          <a:ext cx="828692" cy="1243038"/>
        </a:xfrm>
        <a:prstGeom prst="rect">
          <a:avLst/>
        </a:prstGeom>
        <a:solidFill>
          <a:schemeClr val="accent4">
            <a:tint val="50000"/>
            <a:hueOff val="6412470"/>
            <a:satOff val="43698"/>
            <a:lumOff val="116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34DBD8-80E9-4DDA-BE77-79EF6C7B6632}">
      <dsp:nvSpPr>
        <dsp:cNvPr id="0" name=""/>
        <dsp:cNvSpPr/>
      </dsp:nvSpPr>
      <dsp:spPr>
        <a:xfrm>
          <a:off x="578657" y="2535173"/>
          <a:ext cx="4104139" cy="84053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1859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chemeClr val="tx2">
                  <a:lumMod val="75000"/>
                  <a:lumOff val="25000"/>
                </a:schemeClr>
              </a:solidFill>
            </a:rPr>
            <a:t>Автономная некоммерческая дошкольная образовательная организация Центр раннего развития  </a:t>
          </a:r>
          <a:r>
            <a:rPr lang="ru-RU" sz="1400" b="1" kern="1200" dirty="0">
              <a:solidFill>
                <a:schemeClr val="tx2">
                  <a:lumMod val="75000"/>
                  <a:lumOff val="25000"/>
                </a:schemeClr>
              </a:solidFill>
            </a:rPr>
            <a:t> «Теремок»</a:t>
          </a:r>
        </a:p>
      </dsp:txBody>
      <dsp:txXfrm>
        <a:off x="578657" y="2535173"/>
        <a:ext cx="4104139" cy="840530"/>
      </dsp:txXfrm>
    </dsp:sp>
    <dsp:sp modelId="{520B55F8-01D0-4A9D-96B5-A0B3EDA9974E}">
      <dsp:nvSpPr>
        <dsp:cNvPr id="0" name=""/>
        <dsp:cNvSpPr/>
      </dsp:nvSpPr>
      <dsp:spPr>
        <a:xfrm>
          <a:off x="0" y="2508254"/>
          <a:ext cx="1106909" cy="1021056"/>
        </a:xfrm>
        <a:prstGeom prst="rect">
          <a:avLst/>
        </a:prstGeom>
        <a:blipFill rotWithShape="1">
          <a:blip xmlns:r="http://schemas.openxmlformats.org/officeDocument/2006/relationships" r:embed="rId1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a:blip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8C22DD-484A-4804-A190-D5A47E04495B}">
      <dsp:nvSpPr>
        <dsp:cNvPr id="0" name=""/>
        <dsp:cNvSpPr/>
      </dsp:nvSpPr>
      <dsp:spPr>
        <a:xfrm rot="16200000">
          <a:off x="2160234" y="-2160234"/>
          <a:ext cx="1692188" cy="6012656"/>
        </a:xfrm>
        <a:prstGeom prst="round1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228600">
            <a:schemeClr val="accent4">
              <a:satMod val="175000"/>
              <a:alpha val="40000"/>
            </a:schemeClr>
          </a:glow>
        </a:effectLst>
        <a:scene3d>
          <a:camera prst="orthographicFront"/>
          <a:lightRig rig="threePt" dir="t">
            <a:rot lat="0" lon="0" rev="75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7480 учащихся</a:t>
          </a:r>
          <a:endParaRPr lang="ru-RU" sz="2800" b="1" i="1" kern="1200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5400000">
        <a:off x="0" y="0"/>
        <a:ext cx="6012656" cy="1269141"/>
      </dsp:txXfrm>
    </dsp:sp>
    <dsp:sp modelId="{05B9B651-71E0-40D7-9AA4-A47EF28B53C9}">
      <dsp:nvSpPr>
        <dsp:cNvPr id="0" name=""/>
        <dsp:cNvSpPr/>
      </dsp:nvSpPr>
      <dsp:spPr>
        <a:xfrm>
          <a:off x="6012656" y="0"/>
          <a:ext cx="6012656" cy="1692188"/>
        </a:xfrm>
        <a:prstGeom prst="round1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228600">
            <a:schemeClr val="accent4">
              <a:satMod val="175000"/>
              <a:alpha val="40000"/>
            </a:schemeClr>
          </a:glow>
        </a:effectLst>
        <a:scene3d>
          <a:camera prst="orthographicFront"/>
          <a:lightRig rig="threePt" dir="t">
            <a:rot lat="0" lon="0" rev="75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rgbClr val="0029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739 первоклассников в 96 классах</a:t>
          </a:r>
          <a:endParaRPr lang="ru-RU" sz="2800" b="1" i="1" kern="1200" dirty="0">
            <a:solidFill>
              <a:srgbClr val="0029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012656" y="0"/>
        <a:ext cx="6012656" cy="1269141"/>
      </dsp:txXfrm>
    </dsp:sp>
    <dsp:sp modelId="{FDC0C3F7-7ABE-488B-8F6D-56B866C2C0B0}">
      <dsp:nvSpPr>
        <dsp:cNvPr id="0" name=""/>
        <dsp:cNvSpPr/>
      </dsp:nvSpPr>
      <dsp:spPr>
        <a:xfrm rot="10800000">
          <a:off x="0" y="1656178"/>
          <a:ext cx="6012656" cy="1692188"/>
        </a:xfrm>
        <a:prstGeom prst="round1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228600">
            <a:schemeClr val="accent4">
              <a:satMod val="175000"/>
              <a:alpha val="40000"/>
            </a:schemeClr>
          </a:glow>
        </a:effectLst>
        <a:scene3d>
          <a:camera prst="orthographicFront"/>
          <a:lightRig rig="threePt" dir="t">
            <a:rot lat="0" lon="0" rev="75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480 выпускников 9-х классов 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 104 классах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130 выпускников 11-х классов в 56 классах</a:t>
          </a:r>
          <a:endParaRPr lang="ru-RU" sz="2300" b="1" i="1" kern="1200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0" y="2079225"/>
        <a:ext cx="6012656" cy="1269141"/>
      </dsp:txXfrm>
    </dsp:sp>
    <dsp:sp modelId="{0EBCD827-842F-4045-BD96-D9B573EABF6C}">
      <dsp:nvSpPr>
        <dsp:cNvPr id="0" name=""/>
        <dsp:cNvSpPr/>
      </dsp:nvSpPr>
      <dsp:spPr>
        <a:xfrm rot="5400000">
          <a:off x="8172890" y="-468046"/>
          <a:ext cx="1692188" cy="6012656"/>
        </a:xfrm>
        <a:prstGeom prst="round1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228600">
            <a:schemeClr val="accent4">
              <a:satMod val="175000"/>
              <a:alpha val="40000"/>
            </a:schemeClr>
          </a:glow>
        </a:effectLst>
        <a:scene3d>
          <a:camera prst="orthographicFront"/>
          <a:lightRig rig="threePt" dir="t">
            <a:rot lat="0" lon="0" rev="75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обновленным ФГОС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1-4 - е и 5-7-е, 10-е классы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ФООП – 1-11 классы</a:t>
          </a: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b="1" i="1" kern="1200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6012656" y="2115235"/>
        <a:ext cx="6012656" cy="1269141"/>
      </dsp:txXfrm>
    </dsp:sp>
    <dsp:sp modelId="{ABC8135A-8E62-42C3-9D7C-422500250937}">
      <dsp:nvSpPr>
        <dsp:cNvPr id="0" name=""/>
        <dsp:cNvSpPr/>
      </dsp:nvSpPr>
      <dsp:spPr>
        <a:xfrm>
          <a:off x="4273110" y="936101"/>
          <a:ext cx="3607593" cy="846094"/>
        </a:xfrm>
        <a:prstGeom prst="round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glow rad="228600">
            <a:schemeClr val="accent4">
              <a:satMod val="175000"/>
              <a:alpha val="40000"/>
            </a:schemeClr>
          </a:glow>
        </a:effectLst>
        <a:scene3d>
          <a:camera prst="orthographicFront"/>
          <a:lightRig rig="threePt" dir="t">
            <a:rot lat="0" lon="0" rev="7500000"/>
          </a:lightRig>
        </a:scene3d>
        <a:sp3d z="152400" extrusionH="63500"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i="1" kern="1200" dirty="0" smtClean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075 классов</a:t>
          </a:r>
          <a:endParaRPr lang="ru-RU" sz="2800" b="1" i="1" kern="1200" dirty="0">
            <a:solidFill>
              <a:schemeClr val="accent1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314413" y="977404"/>
        <a:ext cx="3524987" cy="7634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4627</cdr:y>
    </cdr:from>
    <cdr:to>
      <cdr:x>1</cdr:x>
      <cdr:y>0.5564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0" y="64206"/>
          <a:ext cx="5229728" cy="707886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>
            <a:lumMod val="10000"/>
            <a:lumOff val="90000"/>
          </a:schemeClr>
        </a:solidFill>
        <a:ln xmlns:a="http://schemas.openxmlformats.org/drawingml/2006/main">
          <a:noFill/>
        </a:ln>
        <a:effectLst xmlns:a="http://schemas.openxmlformats.org/drawingml/2006/main">
          <a:outerShdw blurRad="44450" dist="27940" dir="5400000" algn="ctr">
            <a:srgbClr val="000000">
              <a:alpha val="32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balanced" dir="t">
            <a:rot lat="0" lon="0" rev="8700000"/>
          </a:lightRig>
        </a:scene3d>
        <a:sp3d xmlns:a="http://schemas.openxmlformats.org/drawingml/2006/main">
          <a:bevelT w="190500" h="38100"/>
        </a:sp3d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defTabSz="893763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46088" indent="9525" algn="l" defTabSz="893763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893763" indent="17463" algn="l" defTabSz="893763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41438" indent="26988" algn="l" defTabSz="893763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790700" indent="34925" algn="l" defTabSz="893763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r>
            <a:rPr lang="ru-RU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2 групп </a:t>
          </a:r>
          <a:r>
            <a:rPr lang="ru-RU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полного </a:t>
          </a: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дня на </a:t>
          </a:r>
          <a:r>
            <a:rPr lang="ru-RU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базе школ № </a:t>
          </a: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4, 36, 37, 40, 43 </a:t>
          </a:r>
          <a:r>
            <a:rPr lang="ru-RU" sz="2000" dirty="0">
              <a:latin typeface="Times New Roman" panose="02020603050405020304" pitchFamily="18" charset="0"/>
              <a:cs typeface="Times New Roman" panose="02020603050405020304" pitchFamily="18" charset="0"/>
            </a:rPr>
            <a:t>(МДОУ </a:t>
          </a: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№№ 40, 68, 76, 98, 107, 134)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C891B60D-9F64-4319-8848-7CE49F0A56A5}" type="datetimeFigureOut">
              <a:rPr lang="ru-RU"/>
              <a:pPr>
                <a:defRPr/>
              </a:pPr>
              <a:t>02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 defTabSz="936625" eaLnBrk="1" hangingPunct="1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3165A485-4979-4B14-A0C5-AF1AEAC4CB3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603989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402BDC39-70D9-460C-89DF-1B6FAE5D0595}" type="datetimeFigureOut">
              <a:rPr lang="ru-RU"/>
              <a:pPr>
                <a:defRPr/>
              </a:pPr>
              <a:t>02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710"/>
            <a:ext cx="5438775" cy="4466511"/>
          </a:xfrm>
          <a:prstGeom prst="rect">
            <a:avLst/>
          </a:prstGeom>
        </p:spPr>
        <p:txBody>
          <a:bodyPr vert="horz" lIns="95571" tIns="47786" rIns="95571" bIns="4778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 defTabSz="936654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5571" tIns="47786" rIns="95571" bIns="47786" numCol="1" anchor="b" anchorCtr="0" compatLnSpc="1">
            <a:prstTxWarp prst="textNoShape">
              <a:avLst/>
            </a:prstTxWarp>
          </a:bodyPr>
          <a:lstStyle>
            <a:lvl1pPr algn="r" defTabSz="936625" eaLnBrk="1" hangingPunct="1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6A2BF5C4-631C-4AE0-B8DD-31FC1D60C7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410331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376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6088" algn="l" defTabSz="89376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93763" algn="l" defTabSz="89376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41438" algn="l" defTabSz="89376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90700" algn="l" defTabSz="89376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40280" algn="l" defTabSz="896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88335" algn="l" defTabSz="896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36390" algn="l" defTabSz="896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84444" algn="l" defTabSz="89610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865443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2875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06234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32983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570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28550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52327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99931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566049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A2BF5C4-631C-4AE0-B8DD-31FC1D60C783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7575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tags" Target="../tags/tag182.xml"/><Relationship Id="rId3" Type="http://schemas.openxmlformats.org/officeDocument/2006/relationships/tags" Target="../tags/tag167.xml"/><Relationship Id="rId21" Type="http://schemas.openxmlformats.org/officeDocument/2006/relationships/oleObject" Target="../embeddings/oleObject19.bin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tags" Target="../tags/tag181.xml"/><Relationship Id="rId2" Type="http://schemas.openxmlformats.org/officeDocument/2006/relationships/tags" Target="../tags/tag166.xml"/><Relationship Id="rId16" Type="http://schemas.openxmlformats.org/officeDocument/2006/relationships/tags" Target="../tags/tag180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10" Type="http://schemas.openxmlformats.org/officeDocument/2006/relationships/tags" Target="../tags/tag174.xml"/><Relationship Id="rId19" Type="http://schemas.openxmlformats.org/officeDocument/2006/relationships/tags" Target="../tags/tag183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Relationship Id="rId22" Type="http://schemas.openxmlformats.org/officeDocument/2006/relationships/oleObject" Target="../embeddings/oleObject20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3" Type="http://schemas.openxmlformats.org/officeDocument/2006/relationships/tags" Target="../tags/tag185.xml"/><Relationship Id="rId21" Type="http://schemas.openxmlformats.org/officeDocument/2006/relationships/oleObject" Target="../embeddings/oleObject21.bin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oleObject" Target="../embeddings/oleObject2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3" Type="http://schemas.openxmlformats.org/officeDocument/2006/relationships/tags" Target="../tags/tag203.xml"/><Relationship Id="rId21" Type="http://schemas.openxmlformats.org/officeDocument/2006/relationships/oleObject" Target="../embeddings/oleObject23.bin"/><Relationship Id="rId7" Type="http://schemas.openxmlformats.org/officeDocument/2006/relationships/tags" Target="../tags/tag207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oleObject" Target="../embeddings/oleObject2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" Type="http://schemas.openxmlformats.org/officeDocument/2006/relationships/tags" Target="../tags/tag41.xml"/><Relationship Id="rId21" Type="http://schemas.openxmlformats.org/officeDocument/2006/relationships/oleObject" Target="../embeddings/oleObject5.bin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21" Type="http://schemas.openxmlformats.org/officeDocument/2006/relationships/oleObject" Target="../embeddings/oleObject7.bin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3" Type="http://schemas.openxmlformats.org/officeDocument/2006/relationships/tags" Target="../tags/tag77.xml"/><Relationship Id="rId21" Type="http://schemas.openxmlformats.org/officeDocument/2006/relationships/oleObject" Target="../embeddings/oleObject9.bin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oleObject" Target="../embeddings/oleObject10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" Type="http://schemas.openxmlformats.org/officeDocument/2006/relationships/tags" Target="../tags/tag95.xml"/><Relationship Id="rId21" Type="http://schemas.openxmlformats.org/officeDocument/2006/relationships/oleObject" Target="../embeddings/oleObject11.bin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oleObject" Target="../embeddings/oleObject1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3" Type="http://schemas.openxmlformats.org/officeDocument/2006/relationships/tags" Target="../tags/tag113.xml"/><Relationship Id="rId21" Type="http://schemas.openxmlformats.org/officeDocument/2006/relationships/oleObject" Target="../embeddings/oleObject13.bin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3" Type="http://schemas.openxmlformats.org/officeDocument/2006/relationships/tags" Target="../tags/tag131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oleObject" Target="../embeddings/oleObject1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3" Type="http://schemas.openxmlformats.org/officeDocument/2006/relationships/tags" Target="../tags/tag149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oleObject" Target="../embeddings/oleObject1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62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McK Title Elements"/>
          <p:cNvGrpSpPr>
            <a:grpSpLocks/>
          </p:cNvGrpSpPr>
          <p:nvPr/>
        </p:nvGrpSpPr>
        <p:grpSpPr bwMode="auto">
          <a:xfrm>
            <a:off x="3591984" y="2182814"/>
            <a:ext cx="6838949" cy="4619625"/>
            <a:chOff x="1663" y="1348"/>
            <a:chExt cx="3167" cy="2852"/>
          </a:xfrm>
        </p:grpSpPr>
        <p:sp>
          <p:nvSpPr>
            <p:cNvPr id="162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942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КОНФИДЕНЦИАЛЬНО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3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36"/>
              <a:ext cx="316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Тип документа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4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500">
                  <a:solidFill>
                    <a:srgbClr val="000000"/>
                  </a:solidFill>
                </a:rPr>
                <a:t>Дата</a:t>
              </a:r>
              <a:endParaRPr lang="en-US" altLang="ru-RU" sz="1500">
                <a:solidFill>
                  <a:srgbClr val="000000"/>
                </a:solidFill>
              </a:endParaRPr>
            </a:p>
          </p:txBody>
        </p:sp>
        <p:sp>
          <p:nvSpPr>
            <p:cNvPr id="165" name="McK Disclaimer" hidden="1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>
              <a:off x="1663" y="3516"/>
              <a:ext cx="2303" cy="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809625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80962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ru-RU" altLang="ru-RU" sz="900">
                  <a:solidFill>
                    <a:srgbClr val="000000"/>
                  </a:solidFill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>
                <a:defRPr/>
              </a:pPr>
              <a:endParaRPr lang="ru-RU" altLang="ru-RU" sz="900">
                <a:solidFill>
                  <a:srgbClr val="000000"/>
                </a:solidFill>
              </a:endParaRPr>
            </a:p>
            <a:p>
              <a:pPr>
                <a:defRPr/>
              </a:pPr>
              <a:r>
                <a:rPr lang="ru-RU" altLang="ru-RU" sz="900">
                  <a:solidFill>
                    <a:srgbClr val="000000"/>
                  </a:solidFill>
                </a:rPr>
                <a:t>Настоящий отчет был использован консультантами </a:t>
              </a:r>
              <a:br>
                <a:rPr lang="ru-RU" altLang="ru-RU" sz="900">
                  <a:solidFill>
                    <a:srgbClr val="000000"/>
                  </a:solidFill>
                </a:rPr>
              </a:br>
              <a:r>
                <a:rPr lang="ru-RU" altLang="ru-RU" sz="900">
                  <a:solidFill>
                    <a:srgbClr val="000000"/>
                  </a:solidFill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166" name="Working Draft Text" hidden="1"/>
          <p:cNvSpPr>
            <a:spLocks noChangeArrowheads="1"/>
          </p:cNvSpPr>
          <p:nvPr/>
        </p:nvSpPr>
        <p:spPr bwMode="auto">
          <a:xfrm>
            <a:off x="569384" y="349251"/>
            <a:ext cx="414654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SzPct val="120000"/>
              <a:defRPr/>
            </a:pPr>
            <a:r>
              <a:rPr lang="en-US" altLang="ru-RU" sz="1500">
                <a:solidFill>
                  <a:srgbClr val="000000"/>
                </a:solidFill>
              </a:rPr>
              <a:t>Working Draft    </a:t>
            </a:r>
          </a:p>
        </p:txBody>
      </p:sp>
      <p:sp>
        <p:nvSpPr>
          <p:cNvPr id="167" name="Working Draft" hidden="1"/>
          <p:cNvSpPr txBox="1">
            <a:spLocks noChangeArrowheads="1"/>
          </p:cNvSpPr>
          <p:nvPr/>
        </p:nvSpPr>
        <p:spPr bwMode="auto">
          <a:xfrm>
            <a:off x="569384" y="593725"/>
            <a:ext cx="399904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200">
                <a:solidFill>
                  <a:srgbClr val="000000"/>
                </a:solidFill>
              </a:rPr>
              <a:t>Last Modified 09/06/2006 21:40:09 Russian Standard Time</a:t>
            </a:r>
          </a:p>
        </p:txBody>
      </p:sp>
      <p:sp>
        <p:nvSpPr>
          <p:cNvPr id="168" name="Printed" hidden="1"/>
          <p:cNvSpPr txBox="1">
            <a:spLocks noChangeArrowheads="1"/>
          </p:cNvSpPr>
          <p:nvPr/>
        </p:nvSpPr>
        <p:spPr bwMode="auto">
          <a:xfrm>
            <a:off x="569385" y="815975"/>
            <a:ext cx="357264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200">
                <a:solidFill>
                  <a:srgbClr val="000000"/>
                </a:solidFill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91899" y="2756807"/>
            <a:ext cx="6840044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91899" y="3961897"/>
            <a:ext cx="6840044" cy="231435"/>
          </a:xfrm>
        </p:spPr>
        <p:txBody>
          <a:bodyPr/>
          <a:lstStyle>
            <a:lvl1pPr>
              <a:defRPr sz="15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9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11887135" y="36513"/>
            <a:ext cx="65" cy="138499"/>
          </a:xfrm>
        </p:spPr>
        <p:txBody>
          <a:bodyPr/>
          <a:lstStyle>
            <a:lvl1pPr algn="r" defTabSz="893763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468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0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7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8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9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0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2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5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6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7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1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967396" y="1299036"/>
            <a:ext cx="4924425" cy="94214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8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87FC4E06-6270-4296-94E0-598DCAE6365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9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92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4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7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8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9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0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2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5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6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7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75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599408" y="234877"/>
            <a:ext cx="292388" cy="23113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522517" y="234877"/>
            <a:ext cx="1231106" cy="23113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8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900EE207-0FA7-47B6-AAB0-28066E218EC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9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929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98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0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1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2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6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7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8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09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0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1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4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5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6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99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61989" y="234864"/>
            <a:ext cx="11729803" cy="1256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7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1DC83143-941D-4CDA-ADED-25345101FEA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8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686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131763"/>
            <a:ext cx="10970684" cy="14335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09601" y="1600200"/>
            <a:ext cx="10970684" cy="4529138"/>
          </a:xfrm>
        </p:spPr>
        <p:txBody>
          <a:bodyPr rtlCol="0"/>
          <a:lstStyle/>
          <a:p>
            <a:pPr lvl="0"/>
            <a:endParaRPr lang="ru-RU" noProof="0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idx="10"/>
          </p:nvPr>
        </p:nvSpPr>
        <p:spPr>
          <a:xfrm>
            <a:off x="8737601" y="6243638"/>
            <a:ext cx="2842684" cy="4556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lvl1pPr>
          </a:lstStyle>
          <a:p>
            <a:pPr>
              <a:defRPr/>
            </a:pPr>
            <a:fld id="{79D48536-635B-4FA1-9A10-6FF133B8D3D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5192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58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7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8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9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0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2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5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6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7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59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8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ACA097B0-8173-4D15-B709-DF10A2E83F0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9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66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0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82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1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7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8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9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0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2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5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6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7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83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33" y="4407332"/>
            <a:ext cx="10362660" cy="655733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33" y="2929085"/>
            <a:ext cx="10362660" cy="292388"/>
          </a:xfrm>
        </p:spPr>
        <p:txBody>
          <a:bodyPr anchor="b"/>
          <a:lstStyle>
            <a:lvl1pPr marL="0" indent="0">
              <a:buNone/>
              <a:defRPr sz="1900"/>
            </a:lvl1pPr>
            <a:lvl2pPr marL="460413" indent="0">
              <a:buNone/>
              <a:defRPr sz="1800"/>
            </a:lvl2pPr>
            <a:lvl3pPr marL="920909" indent="0">
              <a:buNone/>
              <a:defRPr sz="1600"/>
            </a:lvl3pPr>
            <a:lvl4pPr marL="1381371" indent="0">
              <a:buNone/>
              <a:defRPr sz="1500"/>
            </a:lvl4pPr>
            <a:lvl5pPr marL="1841829" indent="0">
              <a:buNone/>
              <a:defRPr sz="1500"/>
            </a:lvl5pPr>
            <a:lvl6pPr marL="2302289" indent="0">
              <a:buNone/>
              <a:defRPr sz="1500"/>
            </a:lvl6pPr>
            <a:lvl7pPr marL="2762748" indent="0">
              <a:buNone/>
              <a:defRPr sz="1500"/>
            </a:lvl7pPr>
            <a:lvl8pPr marL="3223206" indent="0">
              <a:buNone/>
              <a:defRPr sz="1500"/>
            </a:lvl8pPr>
            <a:lvl9pPr marL="3683664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8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E596B76E-DA3A-4916-8202-7C6992A658C4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9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8427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1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6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2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8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9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10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1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3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6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7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8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7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66305" y="1299165"/>
            <a:ext cx="5757995" cy="166199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31637" y="1299165"/>
            <a:ext cx="5760152" cy="1661993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9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F777D7B5-70C6-4504-910A-DE84C1DF490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20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922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8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0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1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2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3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3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0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4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0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11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12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3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5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8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9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20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1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3" y="275378"/>
            <a:ext cx="1097388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88" y="1543021"/>
            <a:ext cx="5386509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13" indent="0">
              <a:buNone/>
              <a:defRPr sz="1900" b="1"/>
            </a:lvl2pPr>
            <a:lvl3pPr marL="920909" indent="0">
              <a:buNone/>
              <a:defRPr sz="1800" b="1"/>
            </a:lvl3pPr>
            <a:lvl4pPr marL="1381371" indent="0">
              <a:buNone/>
              <a:defRPr sz="1600" b="1"/>
            </a:lvl4pPr>
            <a:lvl5pPr marL="1841829" indent="0">
              <a:buNone/>
              <a:defRPr sz="1600" b="1"/>
            </a:lvl5pPr>
            <a:lvl6pPr marL="2302289" indent="0">
              <a:buNone/>
              <a:defRPr sz="1600" b="1"/>
            </a:lvl6pPr>
            <a:lvl7pPr marL="2762748" indent="0">
              <a:buNone/>
              <a:defRPr sz="1600" b="1"/>
            </a:lvl7pPr>
            <a:lvl8pPr marL="3223206" indent="0">
              <a:buNone/>
              <a:defRPr sz="1600" b="1"/>
            </a:lvl8pPr>
            <a:lvl9pPr marL="368366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088" y="2175319"/>
            <a:ext cx="5386509" cy="1475932"/>
          </a:xfrm>
        </p:spPr>
        <p:txBody>
          <a:bodyPr/>
          <a:lstStyle>
            <a:lvl1pPr>
              <a:defRPr sz="2400"/>
            </a:lvl1pPr>
            <a:lvl2pPr>
              <a:defRPr sz="19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4" y="1543021"/>
            <a:ext cx="5388669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13" indent="0">
              <a:buNone/>
              <a:defRPr sz="1900" b="1"/>
            </a:lvl2pPr>
            <a:lvl3pPr marL="920909" indent="0">
              <a:buNone/>
              <a:defRPr sz="1800" b="1"/>
            </a:lvl3pPr>
            <a:lvl4pPr marL="1381371" indent="0">
              <a:buNone/>
              <a:defRPr sz="1600" b="1"/>
            </a:lvl4pPr>
            <a:lvl5pPr marL="1841829" indent="0">
              <a:buNone/>
              <a:defRPr sz="1600" b="1"/>
            </a:lvl5pPr>
            <a:lvl6pPr marL="2302289" indent="0">
              <a:buNone/>
              <a:defRPr sz="1600" b="1"/>
            </a:lvl6pPr>
            <a:lvl7pPr marL="2762748" indent="0">
              <a:buNone/>
              <a:defRPr sz="1600" b="1"/>
            </a:lvl7pPr>
            <a:lvl8pPr marL="3223206" indent="0">
              <a:buNone/>
              <a:defRPr sz="1600" b="1"/>
            </a:lvl8pPr>
            <a:lvl9pPr marL="368366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4274" y="2175319"/>
            <a:ext cx="5388669" cy="1475932"/>
          </a:xfrm>
        </p:spPr>
        <p:txBody>
          <a:bodyPr/>
          <a:lstStyle>
            <a:lvl1pPr>
              <a:defRPr sz="2400"/>
            </a:lvl1pPr>
            <a:lvl2pPr>
              <a:defRPr sz="19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1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20926D56-35B2-4A85-9DE0-78D441D5A63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22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237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4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0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1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2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6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7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8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09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0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1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4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5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6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5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17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D539B6EE-E0CB-48BD-BF2F-DAE2C68BAE0A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8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4325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48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49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0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1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3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8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78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9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0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1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2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3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5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6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07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08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9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0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1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3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4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5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79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6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A2A14AF1-9E4F-4CE8-AE8A-FF05410C7A4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17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4287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1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2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2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8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9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10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1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3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6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7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8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3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231" y="295380"/>
            <a:ext cx="4010724" cy="29238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653" y="273742"/>
            <a:ext cx="6816289" cy="1908215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231" y="1435096"/>
            <a:ext cx="4010724" cy="231435"/>
          </a:xfrm>
        </p:spPr>
        <p:txBody>
          <a:bodyPr/>
          <a:lstStyle>
            <a:lvl1pPr marL="0" indent="0">
              <a:buNone/>
              <a:defRPr sz="1500"/>
            </a:lvl1pPr>
            <a:lvl2pPr marL="460413" indent="0">
              <a:buNone/>
              <a:defRPr sz="1200"/>
            </a:lvl2pPr>
            <a:lvl3pPr marL="920909" indent="0">
              <a:buNone/>
              <a:defRPr sz="1000"/>
            </a:lvl3pPr>
            <a:lvl4pPr marL="1381371" indent="0">
              <a:buNone/>
              <a:defRPr sz="900"/>
            </a:lvl4pPr>
            <a:lvl5pPr marL="1841829" indent="0">
              <a:buNone/>
              <a:defRPr sz="900"/>
            </a:lvl5pPr>
            <a:lvl6pPr marL="2302289" indent="0">
              <a:buNone/>
              <a:defRPr sz="900"/>
            </a:lvl6pPr>
            <a:lvl7pPr marL="2762748" indent="0">
              <a:buNone/>
              <a:defRPr sz="900"/>
            </a:lvl7pPr>
            <a:lvl8pPr marL="3223206" indent="0">
              <a:buNone/>
              <a:defRPr sz="900"/>
            </a:lvl8pPr>
            <a:lvl9pPr marL="368366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9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3E75B307-FE95-4919-B942-3411CD880A8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20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1056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61" name="AutoShape 1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26" r:id="rId21" imgW="0" imgH="0" progId="">
                  <p:embed/>
                </p:oleObj>
              </mc:Choice>
              <mc:Fallback>
                <p:oleObj r:id="rId2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2" name="Group 343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6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6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7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8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9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0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1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2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3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4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5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6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7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8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29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0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08" name="Freeform 35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309" name="AutoShape 196"/>
          <p:cNvSpPr>
            <a:spLocks noChangeAspect="1" noChangeArrowheads="1" noTextEdit="1"/>
          </p:cNvSpPr>
          <p:nvPr>
            <p:custDataLst>
              <p:tags r:id="rId11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310" name="Group 355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311" name="Rectangle 36"/>
            <p:cNvSpPr>
              <a:spLocks noChangeArrowheads="1"/>
            </p:cNvSpPr>
            <p:nvPr userDrawn="1">
              <p:custDataLst>
                <p:tags r:id="rId1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31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313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31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31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316" name="Working Draft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317" name="Printed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318" name="AutoShape 12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27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9" y="4822579"/>
            <a:ext cx="7315200" cy="292388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9" y="612392"/>
            <a:ext cx="7315200" cy="520729"/>
          </a:xfrm>
        </p:spPr>
        <p:txBody>
          <a:bodyPr/>
          <a:lstStyle>
            <a:lvl1pPr marL="0" indent="0">
              <a:buNone/>
              <a:defRPr sz="3300"/>
            </a:lvl1pPr>
            <a:lvl2pPr marL="460413" indent="0">
              <a:buNone/>
              <a:defRPr sz="2900"/>
            </a:lvl2pPr>
            <a:lvl3pPr marL="920909" indent="0">
              <a:buNone/>
              <a:defRPr sz="2400"/>
            </a:lvl3pPr>
            <a:lvl4pPr marL="1381371" indent="0">
              <a:buNone/>
              <a:defRPr sz="1900"/>
            </a:lvl4pPr>
            <a:lvl5pPr marL="1841829" indent="0">
              <a:buNone/>
              <a:defRPr sz="1900"/>
            </a:lvl5pPr>
            <a:lvl6pPr marL="2302289" indent="0">
              <a:buNone/>
              <a:defRPr sz="1900"/>
            </a:lvl6pPr>
            <a:lvl7pPr marL="2762748" indent="0">
              <a:buNone/>
              <a:defRPr sz="1900"/>
            </a:lvl7pPr>
            <a:lvl8pPr marL="3223206" indent="0">
              <a:buNone/>
              <a:defRPr sz="1900"/>
            </a:lvl8pPr>
            <a:lvl9pPr marL="3683664" indent="0">
              <a:buNone/>
              <a:defRPr sz="19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9" y="5367836"/>
            <a:ext cx="7315200" cy="231435"/>
          </a:xfrm>
        </p:spPr>
        <p:txBody>
          <a:bodyPr/>
          <a:lstStyle>
            <a:lvl1pPr marL="0" indent="0">
              <a:buNone/>
              <a:defRPr sz="1500"/>
            </a:lvl1pPr>
            <a:lvl2pPr marL="460413" indent="0">
              <a:buNone/>
              <a:defRPr sz="1200"/>
            </a:lvl2pPr>
            <a:lvl3pPr marL="920909" indent="0">
              <a:buNone/>
              <a:defRPr sz="1000"/>
            </a:lvl3pPr>
            <a:lvl4pPr marL="1381371" indent="0">
              <a:buNone/>
              <a:defRPr sz="900"/>
            </a:lvl4pPr>
            <a:lvl5pPr marL="1841829" indent="0">
              <a:buNone/>
              <a:defRPr sz="900"/>
            </a:lvl5pPr>
            <a:lvl6pPr marL="2302289" indent="0">
              <a:buNone/>
              <a:defRPr sz="900"/>
            </a:lvl6pPr>
            <a:lvl7pPr marL="2762748" indent="0">
              <a:buNone/>
              <a:defRPr sz="900"/>
            </a:lvl7pPr>
            <a:lvl8pPr marL="3223206" indent="0">
              <a:buNone/>
              <a:defRPr sz="900"/>
            </a:lvl8pPr>
            <a:lvl9pPr marL="368366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9" name="pg num"/>
          <p:cNvSpPr>
            <a:spLocks noGrp="1" noChangeArrowheads="1"/>
          </p:cNvSpPr>
          <p:nvPr>
            <p:ph type="sldNum" sz="quarter" idx="10"/>
            <p:custDataLst>
              <p:tags r:id="rId16"/>
            </p:custDataLst>
          </p:nvPr>
        </p:nvSpPr>
        <p:spPr>
          <a:xfrm>
            <a:off x="9347200" y="6661151"/>
            <a:ext cx="2540000" cy="276225"/>
          </a:xfrm>
        </p:spPr>
        <p:txBody>
          <a:bodyPr/>
          <a:lstStyle>
            <a:lvl1pPr>
              <a:defRPr sz="1800"/>
            </a:lvl1pPr>
          </a:lstStyle>
          <a:p>
            <a:pPr>
              <a:defRPr/>
            </a:pPr>
            <a:fld id="{6761B087-9774-45DF-BD3F-89410B4D7FC4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320" name="doc id"/>
          <p:cNvSpPr>
            <a:spLocks noGrp="1" noChangeArrowheads="1"/>
          </p:cNvSpPr>
          <p:nvPr>
            <p:ph type="ftr" sz="quarter" idx="11"/>
            <p:custDataLst>
              <p:tags r:id="rId17"/>
            </p:custDataLst>
          </p:nvPr>
        </p:nvSpPr>
        <p:spPr/>
        <p:txBody>
          <a:bodyPr/>
          <a:lstStyle>
            <a:lvl1pPr defTabSz="893763"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7635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7.xml"/><Relationship Id="rId27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8467" y="-22225"/>
            <a:ext cx="12194117" cy="241300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25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5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25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5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25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25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25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25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4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74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4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3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8712200" y="-20638"/>
            <a:ext cx="3481917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8466" y="-26988"/>
            <a:ext cx="12232217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84" tIns="46049" rIns="92084" bIns="46049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6351" y="6616701"/>
            <a:ext cx="12187767" cy="263525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20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44 h 164"/>
                <a:gd name="T4" fmla="*/ 1612 w 1612"/>
                <a:gd name="T5" fmla="*/ 14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9347200" y="6661150"/>
            <a:ext cx="25400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109468EF-770F-4473-8D7D-D82804E303C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62984" y="234950"/>
            <a:ext cx="11724216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67217" y="1298576"/>
            <a:ext cx="11724216" cy="1255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67217" y="542925"/>
            <a:ext cx="11724216" cy="6292850"/>
            <a:chOff x="77" y="335"/>
            <a:chExt cx="5429" cy="3885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9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11213" indent="-811213"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defTabSz="901700" eaLnBrk="0" hangingPunct="0"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2479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7051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1623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619500" indent="34925" defTabSz="9017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22313" algn="r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</a:t>
              </a:r>
              <a:r>
                <a:rPr lang="en-US" altLang="ru-RU" sz="1200">
                  <a:solidFill>
                    <a:srgbClr val="000000"/>
                  </a:solidFill>
                </a:rPr>
                <a:t>*</a:t>
              </a:r>
              <a:r>
                <a:rPr lang="ru-RU" altLang="ru-RU" sz="1200">
                  <a:solidFill>
                    <a:srgbClr val="000000"/>
                  </a:solidFill>
                </a:rPr>
                <a:t>	Сноска</a:t>
              </a:r>
              <a:endParaRPr lang="en-US" altLang="ru-RU" sz="120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altLang="ru-RU" sz="1200">
                  <a:solidFill>
                    <a:srgbClr val="000000"/>
                  </a:solidFill>
                </a:rPr>
                <a:t>:</a:t>
              </a:r>
              <a:r>
                <a:rPr lang="ru-RU" altLang="ru-RU" sz="1200">
                  <a:solidFill>
                    <a:srgbClr val="000000"/>
                  </a:solidFill>
                </a:rPr>
                <a:t>	Источник</a:t>
              </a:r>
              <a:endParaRPr lang="en-US" altLang="ru-RU" sz="1200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11232989" y="2766090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11609694" y="4303583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9017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2479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051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23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619500" indent="34925" defTabSz="9017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201084" y="36513"/>
            <a:ext cx="6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895293" eaLnBrk="1" hangingPunct="1">
              <a:defRPr sz="900" b="1">
                <a:solidFill>
                  <a:srgbClr val="FFFFFF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graphicFrame>
        <p:nvGraphicFramePr>
          <p:cNvPr id="1037" name="AutoShape 12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1" y="1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" r:id="rId28" imgW="0" imgH="0" progId="">
                  <p:embed/>
                </p:oleObj>
              </mc:Choice>
              <mc:Fallback>
                <p:oleObj r:id="rId28" imgW="0" imgH="0" progId="">
                  <p:embed/>
                  <p:pic>
                    <p:nvPicPr>
                      <p:cNvPr id="0" name="AutoShape 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15900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5087" r:id="rId1"/>
    <p:sldLayoutId id="2147485088" r:id="rId2"/>
    <p:sldLayoutId id="2147485089" r:id="rId3"/>
    <p:sldLayoutId id="2147485090" r:id="rId4"/>
    <p:sldLayoutId id="2147485091" r:id="rId5"/>
    <p:sldLayoutId id="2147485092" r:id="rId6"/>
    <p:sldLayoutId id="2147485093" r:id="rId7"/>
    <p:sldLayoutId id="2147485094" r:id="rId8"/>
    <p:sldLayoutId id="2147485095" r:id="rId9"/>
    <p:sldLayoutId id="2147485096" r:id="rId10"/>
    <p:sldLayoutId id="2147485097" r:id="rId11"/>
    <p:sldLayoutId id="2147485098" r:id="rId12"/>
    <p:sldLayoutId id="2147485099" r:id="rId13"/>
  </p:sldLayoutIdLst>
  <p:hf hdr="0" ftr="0" dt="0"/>
  <p:txStyles>
    <p:titleStyle>
      <a:lvl1pPr algn="l" defTabSz="9001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1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01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01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01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413" algn="l" defTabSz="90173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0909" algn="l" defTabSz="90173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1371" algn="l" defTabSz="90173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1829" algn="l" defTabSz="90173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001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2875" indent="-141288" algn="l" defTabSz="9001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7638" algn="l" defTabSz="9001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3350" algn="l" defTabSz="9001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4200" indent="-147638" algn="l" defTabSz="9001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47226" indent="-150288" algn="l" defTabSz="90173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7686" indent="-150288" algn="l" defTabSz="90173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8142" indent="-150288" algn="l" defTabSz="90173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8602" indent="-150288" algn="l" defTabSz="90173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413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909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371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829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2289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748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3206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664" algn="l" defTabSz="9209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diagramLayout" Target="../diagrams/layout2.xml"/><Relationship Id="rId7" Type="http://schemas.openxmlformats.org/officeDocument/2006/relationships/image" Target="../media/image34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0.png"/><Relationship Id="rId5" Type="http://schemas.openxmlformats.org/officeDocument/2006/relationships/diagramLayout" Target="../diagrams/layout1.xml"/><Relationship Id="rId10" Type="http://schemas.openxmlformats.org/officeDocument/2006/relationships/chart" Target="../charts/chart1.xml"/><Relationship Id="rId4" Type="http://schemas.openxmlformats.org/officeDocument/2006/relationships/diagramData" Target="../diagrams/data1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Прямоугольник 4"/>
          <p:cNvSpPr>
            <a:spLocks noChangeArrowheads="1"/>
          </p:cNvSpPr>
          <p:nvPr/>
        </p:nvSpPr>
        <p:spPr bwMode="auto">
          <a:xfrm>
            <a:off x="3235109" y="437480"/>
            <a:ext cx="689333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400" dirty="0">
                <a:solidFill>
                  <a:srgbClr val="07367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 МУНИЦИПАЛЬНОГО  ОБРАЗОВАНИЯ  ГОРОДА  БРАТСКА</a:t>
            </a:r>
          </a:p>
          <a:p>
            <a:pPr algn="ctr"/>
            <a:r>
              <a:rPr lang="ru-RU" altLang="ru-RU" sz="1400" dirty="0">
                <a:solidFill>
                  <a:srgbClr val="07367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 ОБРАЗОВАНИЯ</a:t>
            </a:r>
            <a:endParaRPr lang="ru-RU" alt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1384" y="2060848"/>
            <a:ext cx="1116124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5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</a:t>
            </a:r>
          </a:p>
          <a:p>
            <a:pPr algn="ctr">
              <a:defRPr/>
            </a:pPr>
            <a:r>
              <a:rPr lang="ru-RU" sz="35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отребности в педагогических кадрах системы образования муниципального образования </a:t>
            </a:r>
          </a:p>
          <a:p>
            <a:pPr algn="ctr">
              <a:defRPr/>
            </a:pPr>
            <a:r>
              <a:rPr lang="ru-RU" sz="35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</a:t>
            </a:r>
            <a:r>
              <a:rPr lang="ru-RU" sz="35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ратска в </a:t>
            </a:r>
            <a:r>
              <a:rPr lang="ru-RU" sz="3500" b="1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3 году</a:t>
            </a:r>
            <a:endParaRPr lang="ru-RU" sz="3500" b="1" dirty="0" smtClean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018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9489" y="5294843"/>
            <a:ext cx="2316650" cy="1306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2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818" y="5307127"/>
            <a:ext cx="1996796" cy="1326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3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895" y="5307127"/>
            <a:ext cx="1476164" cy="1315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6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121" y="5307127"/>
            <a:ext cx="1711108" cy="1326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87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6340" y="5297889"/>
            <a:ext cx="1880560" cy="1315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Рисунок 12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376901"/>
            <a:ext cx="864096" cy="116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216" y="517040"/>
            <a:ext cx="11724216" cy="430887"/>
          </a:xfrm>
        </p:spPr>
        <p:txBody>
          <a:bodyPr/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ение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просов участников образовательных отношений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2984" y="1034550"/>
            <a:ext cx="11724216" cy="5539978"/>
          </a:xfrm>
        </p:spPr>
        <p:txBody>
          <a:bodyPr/>
          <a:lstStyle/>
          <a:p>
            <a:pPr algn="just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е основного общего образования в 17 общеобразовательных организациях реализовывались программы углубленного изучения отдельных предметов (русский язык, литература, английский язык, математика, информатика, физика, химия, биология) с общим охватом учащихся 2824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а. </a:t>
            </a:r>
          </a:p>
          <a:p>
            <a:pPr algn="just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 общеобразовательных организациях для 4309 школьников осуществлялась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офильная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</a:t>
            </a:r>
            <a:r>
              <a:rPr lang="ru-RU" sz="1400" dirty="0" smtClean="0"/>
              <a:t>.</a:t>
            </a:r>
          </a:p>
          <a:p>
            <a:pPr algn="just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уровне среднего общего образования было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овано обучение по 5 профилям: универсальный, социально-экономический, естественно-научный, гуманитарный, технологический. Из 2268 учащихся 10 - 11-х классов 1321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учали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е в рамках универсального профиля, остальные 947 старшеклассников обучались по программам других профилей. 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8 общеобразовательных организациях продолжалась реализация программ профессионального обучения по специальностям «Водитель категории «В», «Автослесарь», «Секретарь-машинистка», «Швея», «Портной», «Оператор ЭВМ», «Электромонтер по ремонту и обслуживанию электрооборудования», «Токарь»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10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09253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430887"/>
          </a:xfrm>
        </p:spPr>
        <p:txBody>
          <a:bodyPr/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детское движение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7217" y="1124744"/>
            <a:ext cx="4920671" cy="1661993"/>
          </a:xfrm>
        </p:spPr>
        <p:txBody>
          <a:bodyPr/>
          <a:lstStyle/>
          <a:p>
            <a:r>
              <a:rPr lang="ru-RU" sz="3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 МОО</a:t>
            </a:r>
          </a:p>
          <a:p>
            <a:r>
              <a:rPr lang="ru-RU" sz="3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1 класс</a:t>
            </a:r>
          </a:p>
          <a:p>
            <a:r>
              <a:rPr lang="ru-RU" sz="3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36 школьников</a:t>
            </a:r>
            <a:endParaRPr lang="ru-RU" sz="36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11</a:t>
            </a:fld>
            <a:endParaRPr lang="en-US" alt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092" y="665837"/>
            <a:ext cx="5879976" cy="302726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321" y="2996952"/>
            <a:ext cx="4465026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15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00C5BB8-0823-44B0-92AB-C29916F88F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723468"/>
            <a:ext cx="11377264" cy="1846659"/>
          </a:xfrm>
        </p:spPr>
        <p:txBody>
          <a:bodyPr/>
          <a:lstStyle/>
          <a:p>
            <a:pPr marL="0" indent="0" algn="ctr">
              <a:buNone/>
            </a:pPr>
            <a:r>
              <a:rPr lang="ru-RU" sz="2000" b="1" i="1" dirty="0" smtClean="0">
                <a:solidFill>
                  <a:srgbClr val="0029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детей с особыми образовательными потребностями осуществляется с учетом их возможностей и состояния здоровья</a:t>
            </a:r>
          </a:p>
          <a:p>
            <a:pPr marL="0" indent="0" algn="ctr">
              <a:buNone/>
            </a:pPr>
            <a:endParaRPr lang="ru-RU" sz="2000" b="1" i="1" dirty="0">
              <a:solidFill>
                <a:srgbClr val="0029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ru-RU" sz="2000" b="1" i="1" dirty="0" smtClean="0">
                <a:solidFill>
                  <a:srgbClr val="0029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32 специальных коррекционных класса в 11 общеобразовательных организациях </a:t>
            </a:r>
          </a:p>
          <a:p>
            <a:pPr marL="0" indent="0" algn="ctr">
              <a:buNone/>
            </a:pPr>
            <a:r>
              <a:rPr lang="ru-RU" sz="2000" b="1" i="1" dirty="0" smtClean="0">
                <a:solidFill>
                  <a:srgbClr val="0029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 2022-2023 учебном году – в 8 МОО )</a:t>
            </a:r>
          </a:p>
          <a:p>
            <a:pPr marL="0" indent="0" algn="ctr">
              <a:buNone/>
            </a:pPr>
            <a:r>
              <a:rPr lang="ru-RU" sz="2000" b="1" i="1" dirty="0" smtClean="0">
                <a:solidFill>
                  <a:srgbClr val="0029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61 обучающийся)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AA870965-CF22-40CD-B46B-64A43258A9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47200" y="6623050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12</a:t>
            </a:fld>
            <a:endParaRPr lang="en-US" altLang="ru-RU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3068960"/>
            <a:ext cx="3911861" cy="293389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9976" y="2600908"/>
            <a:ext cx="5160000" cy="387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6201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369332"/>
          </a:xfrm>
        </p:spPr>
        <p:txBody>
          <a:bodyPr/>
          <a:lstStyle/>
          <a:p>
            <a:pPr algn="ctr"/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ингент ОО в 2023-2024 учебном году</a:t>
            </a:r>
            <a:endParaRPr lang="ru-RU" sz="2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/>
          </p:nvPr>
        </p:nvGraphicFramePr>
        <p:xfrm>
          <a:off x="166688" y="908720"/>
          <a:ext cx="12025312" cy="3384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13</a:t>
            </a:fld>
            <a:endParaRPr lang="en-US" alt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16" y="4460356"/>
            <a:ext cx="2837387" cy="21280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808" y="4442682"/>
            <a:ext cx="2910920" cy="21633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00" y="4445358"/>
            <a:ext cx="3846021" cy="216338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530622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206789"/>
            <a:ext cx="4007768" cy="122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Rectangle 3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ru-RU" alt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0"/>
          </p:nvPr>
        </p:nvSpPr>
        <p:spPr>
          <a:xfrm>
            <a:off x="9048328" y="6597352"/>
            <a:ext cx="2842684" cy="307777"/>
          </a:xfrm>
        </p:spPr>
        <p:txBody>
          <a:bodyPr/>
          <a:lstStyle/>
          <a:p>
            <a:pPr>
              <a:defRPr/>
            </a:pPr>
            <a:fld id="{79D48536-635B-4FA1-9A10-6FF133B8D3D5}" type="slidenum">
              <a:rPr lang="ru-RU" altLang="ru-RU" sz="1400" b="1">
                <a:solidFill>
                  <a:schemeClr val="bg1"/>
                </a:solidFill>
              </a:rPr>
              <a:pPr>
                <a:defRPr/>
              </a:pPr>
              <a:t>14</a:t>
            </a:fld>
            <a:endParaRPr lang="ru-RU" altLang="ru-RU" sz="1400" b="1" dirty="0">
              <a:solidFill>
                <a:schemeClr val="bg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851" y="206789"/>
            <a:ext cx="63640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1.2. </a:t>
            </a:r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отрасль </a:t>
            </a:r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го </a:t>
            </a:r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22617" y="818020"/>
            <a:ext cx="818410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спективные задачи, стоящие перед системой общего образования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1986" y="1340768"/>
            <a:ext cx="11606031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лечение в школы молодых специалистов, обеспечение их социальной и материальной защищенности</a:t>
            </a:r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321827"/>
              </p:ext>
            </p:extLst>
          </p:nvPr>
        </p:nvGraphicFramePr>
        <p:xfrm>
          <a:off x="911424" y="1698814"/>
          <a:ext cx="7272808" cy="44925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4549"/>
                <a:gridCol w="3168018"/>
                <a:gridCol w="3570241"/>
              </a:tblGrid>
              <a:tr h="5060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редмет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Вакансии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в МОО города Братска (в соответствии с запросом руководителей)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69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сский язык и литератур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17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темат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15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глийский язык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6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т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6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м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олог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4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8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тор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ограф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1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3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хнология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5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ая культура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4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Ж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2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246">
                <a:tc>
                  <a:txBody>
                    <a:bodyPr/>
                    <a:lstStyle/>
                    <a:p>
                      <a:pPr marL="0" lv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ьные классы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26161" marR="26161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Times New Roman"/>
                          <a:ea typeface="Times New Roman"/>
                        </a:rPr>
                        <a:t>6</a:t>
                      </a:r>
                      <a:endParaRPr lang="ru-RU" sz="1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9203" y="2564904"/>
            <a:ext cx="2952328" cy="1652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4961" y="4365104"/>
            <a:ext cx="2952328" cy="1872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300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74" y="404664"/>
            <a:ext cx="11377265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2 «Школьное образовани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AA870965-CF22-40CD-B46B-64A43258A9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47200" y="6623050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15</a:t>
            </a:fld>
            <a:endParaRPr lang="en-US" alt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79377" y="787626"/>
            <a:ext cx="10009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ческие кадры.</a:t>
            </a:r>
            <a:endParaRPr lang="ru-RU" b="1" dirty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4619" y="1628800"/>
            <a:ext cx="9217023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ры дополнительной социальной поддержки для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ов МО города Братска действуют с 2022 года в форме:</a:t>
            </a:r>
            <a:endParaRPr lang="ru-RU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единовременного денежного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обия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воспользовались 20 педагогов-заявителей;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) ежемесячной частичной компенсации расходов за наем жилого помещения на территории города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ратска – воспользовались 3 педагога-заявителя ;</a:t>
            </a:r>
          </a:p>
          <a:p>
            <a:pPr algn="just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) оплата проезда к месту работы и обратно педагогам, проживающим за пределами МО, – воспользовался 1 педагог-заявитель.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4274" name="Picture 2" descr="D:\Users\yakma\Desktop\Совет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6400" y="4005064"/>
            <a:ext cx="2114550" cy="2419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6767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9413" y="332656"/>
            <a:ext cx="8793162" cy="369332"/>
          </a:xfrm>
        </p:spPr>
        <p:txBody>
          <a:bodyPr/>
          <a:lstStyle/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образование г. Братс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1358" y="1052736"/>
            <a:ext cx="11391266" cy="5693866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0 муниципальных дошкольных образовательных учреждений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,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ующих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 дошкольного образования,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хватывающих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целом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 275 воспитанников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0 муниципальных общеобразовательных учреждений города (далее – ОУ) с числом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более 27 тысяч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; 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 учреждений дополнительного образования города (далее – УДО), в которых обучается более 6,5 тысяч детей;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автономное учреждение дополнительного профессионального образования «Центр развития образования» муниципального образования города Братска (далее – МАУ ДПО «ЦРО»), в котором работает 30 человек;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муниципальное детское оздоровительно-образовательное учреждение города (МАУ ДО «Детский оздоровительно-образовательный центр «Надежда»);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казенное учреждение «Многофункциональный центр обслуживания» города (далее – МКУ «МЦО»).</a:t>
            </a:r>
          </a:p>
          <a:p>
            <a:pPr>
              <a:spcAft>
                <a:spcPts val="1200"/>
              </a:spcAft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ая численность работающих в муниципальных учреждениях составляет более 7,0 тыс. человек. </a:t>
            </a:r>
          </a:p>
          <a:p>
            <a:pPr>
              <a:spcAft>
                <a:spcPts val="1200"/>
              </a:spcAft>
            </a:pP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9408368" y="6581775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2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0396634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2" name="Rectangle 3"/>
          <p:cNvSpPr>
            <a:spLocks noChangeArrowheads="1"/>
          </p:cNvSpPr>
          <p:nvPr/>
        </p:nvSpPr>
        <p:spPr bwMode="auto">
          <a:xfrm>
            <a:off x="1524001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ru-RU" alt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0"/>
          </p:nvPr>
        </p:nvSpPr>
        <p:spPr>
          <a:xfrm>
            <a:off x="9048328" y="6597352"/>
            <a:ext cx="2842684" cy="307777"/>
          </a:xfrm>
        </p:spPr>
        <p:txBody>
          <a:bodyPr/>
          <a:lstStyle/>
          <a:p>
            <a:pPr>
              <a:defRPr/>
            </a:pPr>
            <a:fld id="{79D48536-635B-4FA1-9A10-6FF133B8D3D5}" type="slidenum">
              <a:rPr lang="ru-RU" altLang="ru-RU" sz="1400" b="1">
                <a:solidFill>
                  <a:schemeClr val="bg1"/>
                </a:solidFill>
              </a:rPr>
              <a:pPr>
                <a:defRPr/>
              </a:pPr>
              <a:t>3</a:t>
            </a:fld>
            <a:endParaRPr lang="ru-RU" altLang="ru-RU" sz="1400" b="1" dirty="0">
              <a:solidFill>
                <a:schemeClr val="bg1"/>
              </a:solidFill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2" y="346484"/>
            <a:ext cx="10949694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одпрограмма 1 «Дошкольное образование»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90C05B3E-EFE3-471A-987E-8CB2D52040F3}"/>
              </a:ext>
            </a:extLst>
          </p:cNvPr>
          <p:cNvGrpSpPr/>
          <p:nvPr/>
        </p:nvGrpSpPr>
        <p:grpSpPr>
          <a:xfrm>
            <a:off x="56851" y="875718"/>
            <a:ext cx="12071777" cy="5629086"/>
            <a:chOff x="56851" y="875718"/>
            <a:chExt cx="12071777" cy="5629086"/>
          </a:xfrm>
        </p:grpSpPr>
        <p:sp>
          <p:nvSpPr>
            <p:cNvPr id="6" name="Rectangle 2"/>
            <p:cNvSpPr>
              <a:spLocks noChangeArrowheads="1"/>
            </p:cNvSpPr>
            <p:nvPr/>
          </p:nvSpPr>
          <p:spPr bwMode="auto">
            <a:xfrm>
              <a:off x="697980" y="5129148"/>
              <a:ext cx="3577388" cy="237510"/>
            </a:xfrm>
            <a:prstGeom prst="rect">
              <a:avLst/>
            </a:prstGeom>
            <a:blipFill dpi="0" rotWithShape="0">
              <a:blip r:embed="rId3" cstate="print"/>
              <a:srcRect/>
              <a:stretch>
                <a:fillRect/>
              </a:stretch>
            </a:blipFill>
            <a:ln>
              <a:noFill/>
            </a:ln>
            <a:effectLst>
              <a:outerShdw dist="107933" dir="2700000" algn="ctr" rotWithShape="0">
                <a:srgbClr val="808080">
                  <a:alpha val="50026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80808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3146" tIns="38036" rIns="73146" bIns="38036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buSzPct val="100000"/>
              </a:pPr>
              <a:r>
                <a:rPr lang="ru-RU" alt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Microsoft YaHei" panose="020B0503020204020204" pitchFamily="34" charset="-122"/>
                  <a:cs typeface="Times New Roman" panose="02020603050405020304" pitchFamily="18" charset="0"/>
                </a:rPr>
                <a:t>Численность воспитанников</a:t>
              </a:r>
            </a:p>
          </p:txBody>
        </p:sp>
        <p:graphicFrame>
          <p:nvGraphicFramePr>
            <p:cNvPr id="8" name="Схема 7"/>
            <p:cNvGraphicFramePr/>
            <p:nvPr>
              <p:extLst/>
            </p:nvPr>
          </p:nvGraphicFramePr>
          <p:xfrm>
            <a:off x="107851" y="1504977"/>
            <a:ext cx="5309937" cy="379367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sp>
          <p:nvSpPr>
            <p:cNvPr id="10" name="Прямоугольник 9"/>
            <p:cNvSpPr/>
            <p:nvPr/>
          </p:nvSpPr>
          <p:spPr>
            <a:xfrm>
              <a:off x="107851" y="1667324"/>
              <a:ext cx="1157348" cy="1081541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</a:rPr>
                <a:t>59</a:t>
              </a:r>
              <a:endParaRPr lang="ru-RU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130762" y="2818100"/>
              <a:ext cx="1134437" cy="103689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1</a:t>
              </a: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56851" y="5456895"/>
              <a:ext cx="4550513" cy="1047909"/>
            </a:xfrm>
            <a:prstGeom prst="round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accent5">
                      <a:lumMod val="50000"/>
                    </a:schemeClr>
                  </a:solidFill>
                </a:rPr>
                <a:t>1 полугодие 2022 года 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</a:rPr>
                <a:t>– </a:t>
              </a:r>
              <a:r>
                <a:rPr lang="ru-RU" b="1" dirty="0" smtClean="0">
                  <a:solidFill>
                    <a:schemeClr val="accent5">
                      <a:lumMod val="50000"/>
                    </a:schemeClr>
                  </a:solidFill>
                </a:rPr>
                <a:t>13 125 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</a:rPr>
                <a:t>детей </a:t>
              </a:r>
              <a:endParaRPr lang="ru-RU" b="1" dirty="0" smtClean="0">
                <a:solidFill>
                  <a:schemeClr val="accent5">
                    <a:lumMod val="50000"/>
                  </a:schemeClr>
                </a:solidFill>
              </a:endParaRPr>
            </a:p>
            <a:p>
              <a:pPr algn="ctr"/>
              <a:r>
                <a:rPr lang="ru-RU" b="1" dirty="0" smtClean="0">
                  <a:solidFill>
                    <a:schemeClr val="accent5">
                      <a:lumMod val="50000"/>
                    </a:schemeClr>
                  </a:solidFill>
                </a:rPr>
                <a:t>1 полугодие 2023 года – 12 275 детей</a:t>
              </a:r>
              <a:endParaRPr lang="ru-RU" b="1" dirty="0">
                <a:solidFill>
                  <a:schemeClr val="accent5">
                    <a:lumMod val="50000"/>
                  </a:schemeClr>
                </a:solidFill>
              </a:endParaRPr>
            </a:p>
            <a:p>
              <a:pPr algn="ctr"/>
              <a:r>
                <a:rPr lang="ru-RU" sz="1400" dirty="0">
                  <a:solidFill>
                    <a:schemeClr val="accent5">
                      <a:lumMod val="50000"/>
                    </a:schemeClr>
                  </a:solidFill>
                </a:rPr>
                <a:t>(из них 25 детей посещают частный детский сад «Теремок»)</a:t>
              </a:r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211" y="4494045"/>
              <a:ext cx="2297363" cy="1759246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graphicFrame>
          <p:nvGraphicFramePr>
            <p:cNvPr id="15" name="Диаграмма 14"/>
            <p:cNvGraphicFramePr/>
            <p:nvPr>
              <p:extLst/>
            </p:nvPr>
          </p:nvGraphicFramePr>
          <p:xfrm>
            <a:off x="6875746" y="4812832"/>
            <a:ext cx="5229728" cy="13876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9" name="Стрелка вниз 18"/>
            <p:cNvSpPr/>
            <p:nvPr/>
          </p:nvSpPr>
          <p:spPr>
            <a:xfrm>
              <a:off x="1127448" y="1026199"/>
              <a:ext cx="2826752" cy="585752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Всего</a:t>
              </a:r>
            </a:p>
            <a:p>
              <a:pPr algn="ctr"/>
              <a:r>
                <a:rPr lang="ru-RU" b="1" dirty="0">
                  <a:solidFill>
                    <a:schemeClr val="tx1"/>
                  </a:solidFill>
                </a:rPr>
                <a:t> </a:t>
              </a:r>
              <a:r>
                <a:rPr lang="en-US" b="1" dirty="0" smtClean="0">
                  <a:solidFill>
                    <a:schemeClr val="tx1"/>
                  </a:solidFill>
                </a:rPr>
                <a:t>6</a:t>
              </a:r>
              <a:r>
                <a:rPr lang="ru-RU" b="1" dirty="0" smtClean="0">
                  <a:solidFill>
                    <a:schemeClr val="tx1"/>
                  </a:solidFill>
                </a:rPr>
                <a:t>1 </a:t>
              </a:r>
              <a:r>
                <a:rPr lang="ru-RU" b="1" dirty="0">
                  <a:solidFill>
                    <a:schemeClr val="tx1"/>
                  </a:solidFill>
                </a:rPr>
                <a:t>ДОУ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6915676" y="2769739"/>
              <a:ext cx="4856681" cy="1938992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>
              <a:spAutoFit/>
            </a:bodyPr>
            <a:lstStyle/>
            <a:p>
              <a:r>
                <a:rPr lang="ru-RU" sz="2000" b="1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- 70</a:t>
              </a:r>
              <a:r>
                <a:rPr lang="ru-RU" sz="20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 отдельных  зданий дошкольных образовательных учреждений, </a:t>
              </a:r>
            </a:p>
            <a:p>
              <a:r>
                <a:rPr lang="ru-RU" sz="2000" dirty="0"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– </a:t>
              </a:r>
              <a:r>
                <a:rPr lang="ru-RU" sz="20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0 </a:t>
              </a:r>
              <a:r>
                <a:rPr lang="ru-RU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даний </a:t>
              </a:r>
              <a:r>
                <a:rPr lang="ru-RU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являются вторыми адресами (МДОУ №№ </a:t>
              </a:r>
              <a:r>
                <a:rPr lang="ru-RU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, 11, 25, 40, 41, 46, 49, 57, </a:t>
              </a:r>
              <a:r>
                <a:rPr lang="ru-RU" sz="20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61, 101</a:t>
              </a:r>
              <a:r>
                <a:rPr lang="ru-RU" sz="2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ru-RU" sz="2000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5 </a:t>
              </a:r>
              <a:r>
                <a:rPr lang="ru-RU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% от общего количества МДОУ в городе); </a:t>
              </a:r>
            </a:p>
          </p:txBody>
        </p:sp>
        <p:sp>
          <p:nvSpPr>
            <p:cNvPr id="26" name="Пятиугольник 25"/>
            <p:cNvSpPr/>
            <p:nvPr/>
          </p:nvSpPr>
          <p:spPr>
            <a:xfrm rot="10800000">
              <a:off x="4534637" y="875718"/>
              <a:ext cx="7584637" cy="1789920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ятиугольник 4"/>
            <p:cNvSpPr/>
            <p:nvPr/>
          </p:nvSpPr>
          <p:spPr>
            <a:xfrm>
              <a:off x="4978980" y="992609"/>
              <a:ext cx="7149648" cy="16730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28087" tIns="68580" rIns="128016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>
                  <a:solidFill>
                    <a:schemeClr val="tx1"/>
                  </a:solidFill>
                </a:rPr>
                <a:t>	</a:t>
              </a:r>
              <a:r>
                <a:rPr lang="ru-RU" i="1" dirty="0">
                  <a:solidFill>
                    <a:schemeClr val="accent1">
                      <a:lumMod val="25000"/>
                    </a:schemeClr>
                  </a:solidFill>
                </a:rPr>
                <a:t>Улучшение качества организации предоставления общедоступного и бесплатного дошкольного образования по основным образовательным программам в дошкольных образовательных учреждениях и повышение ровня </a:t>
              </a:r>
              <a:r>
                <a:rPr lang="ru-RU" i="1" kern="1200" dirty="0">
                  <a:solidFill>
                    <a:schemeClr val="accent1">
                      <a:lumMod val="25000"/>
                    </a:schemeClr>
                  </a:solidFill>
                </a:rPr>
                <a:t>доступности услуг  дошкольного образования</a:t>
              </a:r>
            </a:p>
          </p:txBody>
        </p:sp>
        <p:sp>
          <p:nvSpPr>
            <p:cNvPr id="28" name="Овал 27"/>
            <p:cNvSpPr/>
            <p:nvPr/>
          </p:nvSpPr>
          <p:spPr>
            <a:xfrm>
              <a:off x="4607364" y="1128349"/>
              <a:ext cx="1601253" cy="1451149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TextBox 29"/>
            <p:cNvSpPr txBox="1"/>
            <p:nvPr/>
          </p:nvSpPr>
          <p:spPr>
            <a:xfrm>
              <a:off x="4845641" y="1561535"/>
              <a:ext cx="115364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3200" dirty="0">
                  <a:solidFill>
                    <a:srgbClr val="C00000"/>
                  </a:solidFill>
                </a:rPr>
                <a:t>Цель</a:t>
              </a:r>
            </a:p>
          </p:txBody>
        </p:sp>
        <p:pic>
          <p:nvPicPr>
            <p:cNvPr id="23" name="Содержимое 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363858" y="2579499"/>
              <a:ext cx="2086816" cy="2054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770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19"/>
          <p:cNvGrpSpPr>
            <a:grpSpLocks/>
          </p:cNvGrpSpPr>
          <p:nvPr/>
        </p:nvGrpSpPr>
        <p:grpSpPr bwMode="auto">
          <a:xfrm rot="20397751">
            <a:off x="7820576" y="972235"/>
            <a:ext cx="3440871" cy="1259707"/>
            <a:chOff x="192" y="1917"/>
            <a:chExt cx="1042" cy="1102"/>
          </a:xfrm>
        </p:grpSpPr>
        <p:grpSp>
          <p:nvGrpSpPr>
            <p:cNvPr id="57" name="Group 20"/>
            <p:cNvGrpSpPr>
              <a:grpSpLocks/>
            </p:cNvGrpSpPr>
            <p:nvPr/>
          </p:nvGrpSpPr>
          <p:grpSpPr bwMode="auto"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61" name="Picture 21" descr="light_shadow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-78000" contrast="-78000"/>
              </a:blip>
              <a:srcRect/>
              <a:stretch>
                <a:fillRect/>
              </a:stretch>
            </p:blipFill>
            <p:spPr bwMode="gray">
              <a:xfrm>
                <a:off x="291" y="2781"/>
                <a:ext cx="858" cy="238"/>
              </a:xfrm>
              <a:prstGeom prst="rect">
                <a:avLst/>
              </a:prstGeom>
              <a:noFill/>
            </p:spPr>
          </p:pic>
          <p:pic>
            <p:nvPicPr>
              <p:cNvPr id="63" name="Picture 22" descr="circuler_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192" y="1917"/>
                <a:ext cx="1042" cy="1016"/>
              </a:xfrm>
              <a:prstGeom prst="rect">
                <a:avLst/>
              </a:prstGeom>
              <a:noFill/>
            </p:spPr>
          </p:pic>
          <p:sp>
            <p:nvSpPr>
              <p:cNvPr id="64" name="Oval 23"/>
              <p:cNvSpPr>
                <a:spLocks noChangeArrowheads="1"/>
              </p:cNvSpPr>
              <p:nvPr/>
            </p:nvSpPr>
            <p:spPr bwMode="gray"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46275"/>
                      <a:invGamma/>
                      <a:alpha val="89999"/>
                    </a:schemeClr>
                  </a:gs>
                  <a:gs pos="50000">
                    <a:schemeClr val="accent1">
                      <a:alpha val="55000"/>
                    </a:schemeClr>
                  </a:gs>
                  <a:gs pos="100000">
                    <a:schemeClr val="accent1">
                      <a:gamma/>
                      <a:shade val="46275"/>
                      <a:invGamma/>
                      <a:alpha val="89999"/>
                    </a:scheme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pic>
          <p:nvPicPr>
            <p:cNvPr id="58" name="Picture 24" descr="Picture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296" y="1927"/>
              <a:ext cx="823" cy="360"/>
            </a:xfrm>
            <a:prstGeom prst="rect">
              <a:avLst/>
            </a:prstGeom>
            <a:noFill/>
          </p:spPr>
        </p:pic>
      </p:grpSp>
      <p:grpSp>
        <p:nvGrpSpPr>
          <p:cNvPr id="12" name="Group 19"/>
          <p:cNvGrpSpPr>
            <a:grpSpLocks/>
          </p:cNvGrpSpPr>
          <p:nvPr/>
        </p:nvGrpSpPr>
        <p:grpSpPr bwMode="auto">
          <a:xfrm rot="19763589">
            <a:off x="857663" y="1061162"/>
            <a:ext cx="2637468" cy="1259707"/>
            <a:chOff x="192" y="1917"/>
            <a:chExt cx="1042" cy="1102"/>
          </a:xfrm>
        </p:grpSpPr>
        <p:grpSp>
          <p:nvGrpSpPr>
            <p:cNvPr id="16" name="Group 20"/>
            <p:cNvGrpSpPr>
              <a:grpSpLocks/>
            </p:cNvGrpSpPr>
            <p:nvPr/>
          </p:nvGrpSpPr>
          <p:grpSpPr bwMode="auto">
            <a:xfrm>
              <a:off x="192" y="1917"/>
              <a:ext cx="1042" cy="1102"/>
              <a:chOff x="192" y="1917"/>
              <a:chExt cx="1042" cy="1102"/>
            </a:xfrm>
          </p:grpSpPr>
          <p:pic>
            <p:nvPicPr>
              <p:cNvPr id="23" name="Picture 21" descr="light_shadow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 bright="-78000" contrast="-78000"/>
              </a:blip>
              <a:srcRect/>
              <a:stretch>
                <a:fillRect/>
              </a:stretch>
            </p:blipFill>
            <p:spPr bwMode="gray">
              <a:xfrm>
                <a:off x="291" y="2781"/>
                <a:ext cx="858" cy="238"/>
              </a:xfrm>
              <a:prstGeom prst="rect">
                <a:avLst/>
              </a:prstGeom>
              <a:noFill/>
            </p:spPr>
          </p:pic>
          <p:pic>
            <p:nvPicPr>
              <p:cNvPr id="24" name="Picture 22" descr="circuler_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gray">
              <a:xfrm>
                <a:off x="192" y="1917"/>
                <a:ext cx="1042" cy="1016"/>
              </a:xfrm>
              <a:prstGeom prst="rect">
                <a:avLst/>
              </a:prstGeom>
              <a:noFill/>
            </p:spPr>
          </p:pic>
          <p:sp>
            <p:nvSpPr>
              <p:cNvPr id="25" name="Oval 23"/>
              <p:cNvSpPr>
                <a:spLocks noChangeArrowheads="1"/>
              </p:cNvSpPr>
              <p:nvPr/>
            </p:nvSpPr>
            <p:spPr bwMode="gray">
              <a:xfrm>
                <a:off x="192" y="1917"/>
                <a:ext cx="1035" cy="1019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46275"/>
                      <a:invGamma/>
                      <a:alpha val="89999"/>
                    </a:schemeClr>
                  </a:gs>
                  <a:gs pos="50000">
                    <a:schemeClr val="accent1">
                      <a:alpha val="55000"/>
                    </a:schemeClr>
                  </a:gs>
                  <a:gs pos="100000">
                    <a:schemeClr val="accent1">
                      <a:gamma/>
                      <a:shade val="46275"/>
                      <a:invGamma/>
                      <a:alpha val="89999"/>
                    </a:schemeClr>
                  </a:gs>
                </a:gsLst>
                <a:lin ang="54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pic>
          <p:nvPicPr>
            <p:cNvPr id="22" name="Picture 24" descr="Picture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296" y="1927"/>
              <a:ext cx="823" cy="360"/>
            </a:xfrm>
            <a:prstGeom prst="rect">
              <a:avLst/>
            </a:prstGeom>
            <a:noFill/>
          </p:spPr>
        </p:pic>
      </p:grpSp>
      <p:grpSp>
        <p:nvGrpSpPr>
          <p:cNvPr id="17" name="Group 28"/>
          <p:cNvGrpSpPr>
            <a:grpSpLocks/>
          </p:cNvGrpSpPr>
          <p:nvPr/>
        </p:nvGrpSpPr>
        <p:grpSpPr bwMode="auto">
          <a:xfrm rot="20433367">
            <a:off x="4191106" y="883993"/>
            <a:ext cx="3222001" cy="1411140"/>
            <a:chOff x="2608" y="1076"/>
            <a:chExt cx="466" cy="518"/>
          </a:xfrm>
          <a:noFill/>
        </p:grpSpPr>
        <p:grpSp>
          <p:nvGrpSpPr>
            <p:cNvPr id="19" name="Group 29"/>
            <p:cNvGrpSpPr>
              <a:grpSpLocks/>
            </p:cNvGrpSpPr>
            <p:nvPr/>
          </p:nvGrpSpPr>
          <p:grpSpPr bwMode="auto">
            <a:xfrm>
              <a:off x="2608" y="1076"/>
              <a:ext cx="466" cy="518"/>
              <a:chOff x="2608" y="1076"/>
              <a:chExt cx="466" cy="518"/>
            </a:xfrm>
            <a:grpFill/>
          </p:grpSpPr>
          <p:pic>
            <p:nvPicPr>
              <p:cNvPr id="32" name="Picture 30" descr="light_shadow"/>
              <p:cNvPicPr>
                <a:picLocks noChangeAspect="1" noChangeArrowheads="1"/>
              </p:cNvPicPr>
              <p:nvPr/>
            </p:nvPicPr>
            <p:blipFill>
              <a:blip r:embed="rId6" cstate="print">
                <a:lum bright="-78000" contrast="-78000"/>
              </a:blip>
              <a:srcRect/>
              <a:stretch>
                <a:fillRect/>
              </a:stretch>
            </p:blipFill>
            <p:spPr bwMode="gray">
              <a:xfrm>
                <a:off x="2652" y="1482"/>
                <a:ext cx="384" cy="112"/>
              </a:xfrm>
              <a:prstGeom prst="rect">
                <a:avLst/>
              </a:prstGeom>
              <a:grpFill/>
            </p:spPr>
          </p:pic>
          <p:pic>
            <p:nvPicPr>
              <p:cNvPr id="33" name="Picture 31" descr="circuler_1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gray">
              <a:xfrm>
                <a:off x="2608" y="1076"/>
                <a:ext cx="466" cy="478"/>
              </a:xfrm>
              <a:prstGeom prst="rect">
                <a:avLst/>
              </a:prstGeom>
              <a:grpFill/>
            </p:spPr>
          </p:pic>
          <p:sp>
            <p:nvSpPr>
              <p:cNvPr id="34" name="Oval 32"/>
              <p:cNvSpPr>
                <a:spLocks noChangeArrowheads="1"/>
              </p:cNvSpPr>
              <p:nvPr/>
            </p:nvSpPr>
            <p:spPr bwMode="gray">
              <a:xfrm>
                <a:off x="2608" y="1076"/>
                <a:ext cx="463" cy="479"/>
              </a:xfrm>
              <a:prstGeom prst="ellipse">
                <a:avLst/>
              </a:prstGeom>
              <a:grpFill/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pic>
          <p:nvPicPr>
            <p:cNvPr id="31" name="Picture 33" descr="Picture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2665" y="1081"/>
              <a:ext cx="359" cy="169"/>
            </a:xfrm>
            <a:prstGeom prst="rect">
              <a:avLst/>
            </a:prstGeom>
            <a:grpFill/>
          </p:spPr>
        </p:pic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57AAA8AC-3DAA-43CB-BA18-D5C7BAED1D7A}"/>
              </a:ext>
            </a:extLst>
          </p:cNvPr>
          <p:cNvGrpSpPr/>
          <p:nvPr/>
        </p:nvGrpSpPr>
        <p:grpSpPr>
          <a:xfrm>
            <a:off x="973106" y="1048260"/>
            <a:ext cx="10168410" cy="4551303"/>
            <a:chOff x="984251" y="1014474"/>
            <a:chExt cx="10168410" cy="4551303"/>
          </a:xfrm>
        </p:grpSpPr>
        <p:grpSp>
          <p:nvGrpSpPr>
            <p:cNvPr id="2" name="Group 2"/>
            <p:cNvGrpSpPr>
              <a:grpSpLocks/>
            </p:cNvGrpSpPr>
            <p:nvPr/>
          </p:nvGrpSpPr>
          <p:grpSpPr bwMode="auto">
            <a:xfrm>
              <a:off x="8049684" y="2093913"/>
              <a:ext cx="2876549" cy="3425825"/>
              <a:chOff x="642" y="1572"/>
              <a:chExt cx="1359" cy="2158"/>
            </a:xfrm>
          </p:grpSpPr>
          <p:sp>
            <p:nvSpPr>
              <p:cNvPr id="4" name="Freeform 3"/>
              <p:cNvSpPr>
                <a:spLocks/>
              </p:cNvSpPr>
              <p:nvPr/>
            </p:nvSpPr>
            <p:spPr bwMode="ltGray">
              <a:xfrm>
                <a:off x="642" y="1572"/>
                <a:ext cx="1359" cy="2158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1" y="1987"/>
                  </a:cxn>
                  <a:cxn ang="0">
                    <a:pos x="309" y="2154"/>
                  </a:cxn>
                  <a:cxn ang="0">
                    <a:pos x="681" y="2040"/>
                  </a:cxn>
                  <a:cxn ang="0">
                    <a:pos x="999" y="1902"/>
                  </a:cxn>
                  <a:cxn ang="0">
                    <a:pos x="1359" y="2017"/>
                  </a:cxn>
                  <a:cxn ang="0">
                    <a:pos x="1359" y="180"/>
                  </a:cxn>
                  <a:cxn ang="0">
                    <a:pos x="1025" y="21"/>
                  </a:cxn>
                  <a:cxn ang="0">
                    <a:pos x="366" y="378"/>
                  </a:cxn>
                  <a:cxn ang="0">
                    <a:pos x="0" y="207"/>
                  </a:cxn>
                </a:cxnLst>
                <a:rect l="0" t="0" r="r" b="b"/>
                <a:pathLst>
                  <a:path w="1359" h="2158">
                    <a:moveTo>
                      <a:pt x="0" y="207"/>
                    </a:moveTo>
                    <a:cubicBezTo>
                      <a:pt x="0" y="1097"/>
                      <a:pt x="1" y="1987"/>
                      <a:pt x="1" y="1987"/>
                    </a:cubicBezTo>
                    <a:cubicBezTo>
                      <a:pt x="105" y="2151"/>
                      <a:pt x="210" y="2148"/>
                      <a:pt x="309" y="2154"/>
                    </a:cubicBezTo>
                    <a:cubicBezTo>
                      <a:pt x="421" y="2158"/>
                      <a:pt x="576" y="2091"/>
                      <a:pt x="681" y="2040"/>
                    </a:cubicBezTo>
                    <a:cubicBezTo>
                      <a:pt x="786" y="1989"/>
                      <a:pt x="843" y="1908"/>
                      <a:pt x="999" y="1902"/>
                    </a:cubicBezTo>
                    <a:cubicBezTo>
                      <a:pt x="1155" y="1896"/>
                      <a:pt x="1224" y="1908"/>
                      <a:pt x="1359" y="2017"/>
                    </a:cubicBezTo>
                    <a:lnTo>
                      <a:pt x="1359" y="180"/>
                    </a:lnTo>
                    <a:cubicBezTo>
                      <a:pt x="1272" y="72"/>
                      <a:pt x="1219" y="0"/>
                      <a:pt x="1025" y="21"/>
                    </a:cubicBezTo>
                    <a:cubicBezTo>
                      <a:pt x="831" y="42"/>
                      <a:pt x="644" y="378"/>
                      <a:pt x="366" y="378"/>
                    </a:cubicBezTo>
                    <a:cubicBezTo>
                      <a:pt x="88" y="378"/>
                      <a:pt x="87" y="222"/>
                      <a:pt x="0" y="20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hlink"/>
                  </a:gs>
                  <a:gs pos="100000">
                    <a:schemeClr val="hlink">
                      <a:gamma/>
                      <a:shade val="46275"/>
                      <a:invGamma/>
                    </a:schemeClr>
                  </a:gs>
                </a:gsLst>
                <a:lin ang="5400000" scaled="1"/>
              </a:gradFill>
              <a:ln w="9525">
                <a:round/>
                <a:headEnd/>
                <a:tailEnd/>
              </a:ln>
              <a:effectLst/>
              <a:scene3d>
                <a:camera prst="legacyPerspectiveTop"/>
                <a:lightRig rig="legacyNormal2" dir="t"/>
              </a:scene3d>
              <a:sp3d extrusionH="887400" prstMaterial="legacyMatte">
                <a:bevelT w="13500" h="13500" prst="angle"/>
                <a:bevelB w="13500" h="13500" prst="angle"/>
                <a:extrusionClr>
                  <a:schemeClr val="hlink"/>
                </a:extrusionClr>
              </a:sp3d>
            </p:spPr>
            <p:txBody>
              <a:bodyPr>
                <a:flatTx/>
              </a:bodyPr>
              <a:lstStyle/>
              <a:p>
                <a:endParaRPr lang="ru-RU"/>
              </a:p>
            </p:txBody>
          </p:sp>
          <p:sp>
            <p:nvSpPr>
              <p:cNvPr id="5" name="Freeform 4"/>
              <p:cNvSpPr>
                <a:spLocks/>
              </p:cNvSpPr>
              <p:nvPr/>
            </p:nvSpPr>
            <p:spPr bwMode="ltGray">
              <a:xfrm>
                <a:off x="650" y="1576"/>
                <a:ext cx="1348" cy="377"/>
              </a:xfrm>
              <a:custGeom>
                <a:avLst/>
                <a:gdLst/>
                <a:ahLst/>
                <a:cxnLst>
                  <a:cxn ang="0">
                    <a:pos x="0" y="183"/>
                  </a:cxn>
                  <a:cxn ang="0">
                    <a:pos x="309" y="340"/>
                  </a:cxn>
                  <a:cxn ang="0">
                    <a:pos x="670" y="225"/>
                  </a:cxn>
                  <a:cxn ang="0">
                    <a:pos x="1042" y="9"/>
                  </a:cxn>
                  <a:cxn ang="0">
                    <a:pos x="1348" y="165"/>
                  </a:cxn>
                </a:cxnLst>
                <a:rect l="0" t="0" r="r" b="b"/>
                <a:pathLst>
                  <a:path w="1348" h="341">
                    <a:moveTo>
                      <a:pt x="0" y="183"/>
                    </a:moveTo>
                    <a:cubicBezTo>
                      <a:pt x="84" y="205"/>
                      <a:pt x="78" y="326"/>
                      <a:pt x="309" y="340"/>
                    </a:cubicBezTo>
                    <a:cubicBezTo>
                      <a:pt x="421" y="341"/>
                      <a:pt x="563" y="306"/>
                      <a:pt x="670" y="225"/>
                    </a:cubicBezTo>
                    <a:cubicBezTo>
                      <a:pt x="777" y="144"/>
                      <a:pt x="932" y="17"/>
                      <a:pt x="1042" y="9"/>
                    </a:cubicBezTo>
                    <a:cubicBezTo>
                      <a:pt x="1237" y="0"/>
                      <a:pt x="1300" y="105"/>
                      <a:pt x="1348" y="165"/>
                    </a:cubicBezTo>
                  </a:path>
                </a:pathLst>
              </a:custGeom>
              <a:noFill/>
              <a:ln w="9525">
                <a:solidFill>
                  <a:srgbClr val="FFFFFF">
                    <a:alpha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" name="Freeform 5"/>
              <p:cNvSpPr>
                <a:spLocks/>
              </p:cNvSpPr>
              <p:nvPr/>
            </p:nvSpPr>
            <p:spPr bwMode="ltGray">
              <a:xfrm>
                <a:off x="653" y="3473"/>
                <a:ext cx="1345" cy="255"/>
              </a:xfrm>
              <a:custGeom>
                <a:avLst/>
                <a:gdLst/>
                <a:ahLst/>
                <a:cxnLst>
                  <a:cxn ang="0">
                    <a:pos x="1345" y="118"/>
                  </a:cxn>
                  <a:cxn ang="0">
                    <a:pos x="1015" y="1"/>
                  </a:cxn>
                  <a:cxn ang="0">
                    <a:pos x="718" y="112"/>
                  </a:cxn>
                  <a:cxn ang="0">
                    <a:pos x="295" y="253"/>
                  </a:cxn>
                  <a:cxn ang="0">
                    <a:pos x="0" y="102"/>
                  </a:cxn>
                </a:cxnLst>
                <a:rect l="0" t="0" r="r" b="b"/>
                <a:pathLst>
                  <a:path w="1345" h="255">
                    <a:moveTo>
                      <a:pt x="1345" y="118"/>
                    </a:moveTo>
                    <a:cubicBezTo>
                      <a:pt x="1288" y="64"/>
                      <a:pt x="1246" y="17"/>
                      <a:pt x="1015" y="1"/>
                    </a:cubicBezTo>
                    <a:cubicBezTo>
                      <a:pt x="903" y="0"/>
                      <a:pt x="826" y="55"/>
                      <a:pt x="718" y="112"/>
                    </a:cubicBezTo>
                    <a:cubicBezTo>
                      <a:pt x="610" y="169"/>
                      <a:pt x="479" y="255"/>
                      <a:pt x="295" y="253"/>
                    </a:cubicBezTo>
                    <a:cubicBezTo>
                      <a:pt x="111" y="251"/>
                      <a:pt x="73" y="201"/>
                      <a:pt x="0" y="102"/>
                    </a:cubicBezTo>
                  </a:path>
                </a:pathLst>
              </a:custGeom>
              <a:noFill/>
              <a:ln w="9525">
                <a:solidFill>
                  <a:srgbClr val="000000">
                    <a:alpha val="3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</p:grpSp>
        <p:grpSp>
          <p:nvGrpSpPr>
            <p:cNvPr id="3" name="Group 6"/>
            <p:cNvGrpSpPr>
              <a:grpSpLocks/>
            </p:cNvGrpSpPr>
            <p:nvPr/>
          </p:nvGrpSpPr>
          <p:grpSpPr bwMode="auto">
            <a:xfrm>
              <a:off x="4535064" y="2073822"/>
              <a:ext cx="2876549" cy="3425825"/>
              <a:chOff x="642" y="1572"/>
              <a:chExt cx="1359" cy="2158"/>
            </a:xfrm>
          </p:grpSpPr>
          <p:sp>
            <p:nvSpPr>
              <p:cNvPr id="8" name="Freeform 7"/>
              <p:cNvSpPr>
                <a:spLocks/>
              </p:cNvSpPr>
              <p:nvPr/>
            </p:nvSpPr>
            <p:spPr bwMode="ltGray">
              <a:xfrm>
                <a:off x="642" y="1572"/>
                <a:ext cx="1359" cy="2158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1" y="1987"/>
                  </a:cxn>
                  <a:cxn ang="0">
                    <a:pos x="309" y="2154"/>
                  </a:cxn>
                  <a:cxn ang="0">
                    <a:pos x="681" y="2040"/>
                  </a:cxn>
                  <a:cxn ang="0">
                    <a:pos x="999" y="1902"/>
                  </a:cxn>
                  <a:cxn ang="0">
                    <a:pos x="1359" y="2017"/>
                  </a:cxn>
                  <a:cxn ang="0">
                    <a:pos x="1359" y="180"/>
                  </a:cxn>
                  <a:cxn ang="0">
                    <a:pos x="1025" y="21"/>
                  </a:cxn>
                  <a:cxn ang="0">
                    <a:pos x="366" y="378"/>
                  </a:cxn>
                  <a:cxn ang="0">
                    <a:pos x="0" y="207"/>
                  </a:cxn>
                </a:cxnLst>
                <a:rect l="0" t="0" r="r" b="b"/>
                <a:pathLst>
                  <a:path w="1359" h="2158">
                    <a:moveTo>
                      <a:pt x="0" y="207"/>
                    </a:moveTo>
                    <a:cubicBezTo>
                      <a:pt x="0" y="1097"/>
                      <a:pt x="1" y="1987"/>
                      <a:pt x="1" y="1987"/>
                    </a:cubicBezTo>
                    <a:cubicBezTo>
                      <a:pt x="105" y="2151"/>
                      <a:pt x="210" y="2148"/>
                      <a:pt x="309" y="2154"/>
                    </a:cubicBezTo>
                    <a:cubicBezTo>
                      <a:pt x="421" y="2158"/>
                      <a:pt x="576" y="2091"/>
                      <a:pt x="681" y="2040"/>
                    </a:cubicBezTo>
                    <a:cubicBezTo>
                      <a:pt x="786" y="1989"/>
                      <a:pt x="843" y="1908"/>
                      <a:pt x="999" y="1902"/>
                    </a:cubicBezTo>
                    <a:cubicBezTo>
                      <a:pt x="1155" y="1896"/>
                      <a:pt x="1224" y="1908"/>
                      <a:pt x="1359" y="2017"/>
                    </a:cubicBezTo>
                    <a:lnTo>
                      <a:pt x="1359" y="180"/>
                    </a:lnTo>
                    <a:cubicBezTo>
                      <a:pt x="1272" y="72"/>
                      <a:pt x="1219" y="0"/>
                      <a:pt x="1025" y="21"/>
                    </a:cubicBezTo>
                    <a:cubicBezTo>
                      <a:pt x="831" y="42"/>
                      <a:pt x="644" y="378"/>
                      <a:pt x="366" y="378"/>
                    </a:cubicBezTo>
                    <a:cubicBezTo>
                      <a:pt x="88" y="378"/>
                      <a:pt x="87" y="222"/>
                      <a:pt x="0" y="20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shade val="46275"/>
                      <a:invGamma/>
                    </a:schemeClr>
                  </a:gs>
                </a:gsLst>
                <a:lin ang="5400000" scaled="1"/>
              </a:gradFill>
              <a:ln w="9525">
                <a:round/>
                <a:headEnd/>
                <a:tailEnd/>
              </a:ln>
              <a:effectLst/>
              <a:scene3d>
                <a:camera prst="legacyPerspectiveTop"/>
                <a:lightRig rig="legacyNormal2" dir="t"/>
              </a:scene3d>
              <a:sp3d extrusionH="887400" prstMaterial="legacyMatte">
                <a:bevelT w="13500" h="13500" prst="angle"/>
                <a:bevelB w="13500" h="13500" prst="angle"/>
                <a:extrusionClr>
                  <a:schemeClr val="accent2"/>
                </a:extrusionClr>
              </a:sp3d>
            </p:spPr>
            <p:txBody>
              <a:bodyPr>
                <a:flatTx/>
              </a:bodyPr>
              <a:lstStyle/>
              <a:p>
                <a:endParaRPr lang="ru-RU"/>
              </a:p>
            </p:txBody>
          </p:sp>
          <p:sp>
            <p:nvSpPr>
              <p:cNvPr id="9" name="Freeform 8"/>
              <p:cNvSpPr>
                <a:spLocks/>
              </p:cNvSpPr>
              <p:nvPr/>
            </p:nvSpPr>
            <p:spPr bwMode="ltGray">
              <a:xfrm>
                <a:off x="650" y="1576"/>
                <a:ext cx="1348" cy="377"/>
              </a:xfrm>
              <a:custGeom>
                <a:avLst/>
                <a:gdLst/>
                <a:ahLst/>
                <a:cxnLst>
                  <a:cxn ang="0">
                    <a:pos x="0" y="183"/>
                  </a:cxn>
                  <a:cxn ang="0">
                    <a:pos x="309" y="340"/>
                  </a:cxn>
                  <a:cxn ang="0">
                    <a:pos x="670" y="225"/>
                  </a:cxn>
                  <a:cxn ang="0">
                    <a:pos x="1042" y="9"/>
                  </a:cxn>
                  <a:cxn ang="0">
                    <a:pos x="1348" y="165"/>
                  </a:cxn>
                </a:cxnLst>
                <a:rect l="0" t="0" r="r" b="b"/>
                <a:pathLst>
                  <a:path w="1348" h="341">
                    <a:moveTo>
                      <a:pt x="0" y="183"/>
                    </a:moveTo>
                    <a:cubicBezTo>
                      <a:pt x="84" y="205"/>
                      <a:pt x="78" y="326"/>
                      <a:pt x="309" y="340"/>
                    </a:cubicBezTo>
                    <a:cubicBezTo>
                      <a:pt x="421" y="341"/>
                      <a:pt x="563" y="306"/>
                      <a:pt x="670" y="225"/>
                    </a:cubicBezTo>
                    <a:cubicBezTo>
                      <a:pt x="777" y="144"/>
                      <a:pt x="932" y="17"/>
                      <a:pt x="1042" y="9"/>
                    </a:cubicBezTo>
                    <a:cubicBezTo>
                      <a:pt x="1237" y="0"/>
                      <a:pt x="1300" y="105"/>
                      <a:pt x="1348" y="165"/>
                    </a:cubicBezTo>
                  </a:path>
                </a:pathLst>
              </a:custGeom>
              <a:noFill/>
              <a:ln w="9525">
                <a:solidFill>
                  <a:srgbClr val="FFFFFF">
                    <a:alpha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0" name="Freeform 9"/>
              <p:cNvSpPr>
                <a:spLocks/>
              </p:cNvSpPr>
              <p:nvPr/>
            </p:nvSpPr>
            <p:spPr bwMode="ltGray">
              <a:xfrm>
                <a:off x="653" y="3473"/>
                <a:ext cx="1345" cy="255"/>
              </a:xfrm>
              <a:custGeom>
                <a:avLst/>
                <a:gdLst/>
                <a:ahLst/>
                <a:cxnLst>
                  <a:cxn ang="0">
                    <a:pos x="1345" y="118"/>
                  </a:cxn>
                  <a:cxn ang="0">
                    <a:pos x="1015" y="1"/>
                  </a:cxn>
                  <a:cxn ang="0">
                    <a:pos x="718" y="112"/>
                  </a:cxn>
                  <a:cxn ang="0">
                    <a:pos x="295" y="253"/>
                  </a:cxn>
                  <a:cxn ang="0">
                    <a:pos x="0" y="102"/>
                  </a:cxn>
                </a:cxnLst>
                <a:rect l="0" t="0" r="r" b="b"/>
                <a:pathLst>
                  <a:path w="1345" h="255">
                    <a:moveTo>
                      <a:pt x="1345" y="118"/>
                    </a:moveTo>
                    <a:cubicBezTo>
                      <a:pt x="1288" y="64"/>
                      <a:pt x="1246" y="17"/>
                      <a:pt x="1015" y="1"/>
                    </a:cubicBezTo>
                    <a:cubicBezTo>
                      <a:pt x="903" y="0"/>
                      <a:pt x="826" y="55"/>
                      <a:pt x="718" y="112"/>
                    </a:cubicBezTo>
                    <a:cubicBezTo>
                      <a:pt x="610" y="169"/>
                      <a:pt x="479" y="255"/>
                      <a:pt x="295" y="253"/>
                    </a:cubicBezTo>
                    <a:cubicBezTo>
                      <a:pt x="111" y="251"/>
                      <a:pt x="73" y="201"/>
                      <a:pt x="0" y="102"/>
                    </a:cubicBezTo>
                  </a:path>
                </a:pathLst>
              </a:custGeom>
              <a:noFill/>
              <a:ln w="9525">
                <a:solidFill>
                  <a:srgbClr val="000000">
                    <a:alpha val="3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</p:grpSp>
        <p:pic>
          <p:nvPicPr>
            <p:cNvPr id="11" name="Picture 10" descr="shadow_1_m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gray">
            <a:xfrm>
              <a:off x="984251" y="5022851"/>
              <a:ext cx="3132667" cy="168275"/>
            </a:xfrm>
            <a:prstGeom prst="rect">
              <a:avLst/>
            </a:prstGeom>
            <a:noFill/>
          </p:spPr>
        </p:pic>
        <p:grpSp>
          <p:nvGrpSpPr>
            <p:cNvPr id="7" name="Group 11"/>
            <p:cNvGrpSpPr>
              <a:grpSpLocks/>
            </p:cNvGrpSpPr>
            <p:nvPr/>
          </p:nvGrpSpPr>
          <p:grpSpPr bwMode="auto">
            <a:xfrm>
              <a:off x="990600" y="2106614"/>
              <a:ext cx="2908301" cy="3459163"/>
              <a:chOff x="650" y="1549"/>
              <a:chExt cx="1374" cy="2179"/>
            </a:xfrm>
          </p:grpSpPr>
          <p:sp>
            <p:nvSpPr>
              <p:cNvPr id="13" name="Freeform 12"/>
              <p:cNvSpPr>
                <a:spLocks/>
              </p:cNvSpPr>
              <p:nvPr/>
            </p:nvSpPr>
            <p:spPr bwMode="ltGray">
              <a:xfrm>
                <a:off x="665" y="1549"/>
                <a:ext cx="1359" cy="2158"/>
              </a:xfrm>
              <a:custGeom>
                <a:avLst/>
                <a:gdLst/>
                <a:ahLst/>
                <a:cxnLst>
                  <a:cxn ang="0">
                    <a:pos x="0" y="207"/>
                  </a:cxn>
                  <a:cxn ang="0">
                    <a:pos x="1" y="1987"/>
                  </a:cxn>
                  <a:cxn ang="0">
                    <a:pos x="309" y="2154"/>
                  </a:cxn>
                  <a:cxn ang="0">
                    <a:pos x="681" y="2040"/>
                  </a:cxn>
                  <a:cxn ang="0">
                    <a:pos x="999" y="1902"/>
                  </a:cxn>
                  <a:cxn ang="0">
                    <a:pos x="1359" y="2017"/>
                  </a:cxn>
                  <a:cxn ang="0">
                    <a:pos x="1359" y="180"/>
                  </a:cxn>
                  <a:cxn ang="0">
                    <a:pos x="1025" y="21"/>
                  </a:cxn>
                  <a:cxn ang="0">
                    <a:pos x="366" y="378"/>
                  </a:cxn>
                  <a:cxn ang="0">
                    <a:pos x="0" y="207"/>
                  </a:cxn>
                </a:cxnLst>
                <a:rect l="0" t="0" r="r" b="b"/>
                <a:pathLst>
                  <a:path w="1359" h="2158">
                    <a:moveTo>
                      <a:pt x="0" y="207"/>
                    </a:moveTo>
                    <a:cubicBezTo>
                      <a:pt x="0" y="1097"/>
                      <a:pt x="1" y="1987"/>
                      <a:pt x="1" y="1987"/>
                    </a:cubicBezTo>
                    <a:cubicBezTo>
                      <a:pt x="105" y="2151"/>
                      <a:pt x="210" y="2148"/>
                      <a:pt x="309" y="2154"/>
                    </a:cubicBezTo>
                    <a:cubicBezTo>
                      <a:pt x="421" y="2158"/>
                      <a:pt x="576" y="2091"/>
                      <a:pt x="681" y="2040"/>
                    </a:cubicBezTo>
                    <a:cubicBezTo>
                      <a:pt x="786" y="1989"/>
                      <a:pt x="843" y="1908"/>
                      <a:pt x="999" y="1902"/>
                    </a:cubicBezTo>
                    <a:cubicBezTo>
                      <a:pt x="1155" y="1896"/>
                      <a:pt x="1224" y="1908"/>
                      <a:pt x="1359" y="2017"/>
                    </a:cubicBezTo>
                    <a:lnTo>
                      <a:pt x="1359" y="180"/>
                    </a:lnTo>
                    <a:cubicBezTo>
                      <a:pt x="1272" y="72"/>
                      <a:pt x="1219" y="0"/>
                      <a:pt x="1025" y="21"/>
                    </a:cubicBezTo>
                    <a:cubicBezTo>
                      <a:pt x="831" y="42"/>
                      <a:pt x="644" y="378"/>
                      <a:pt x="366" y="378"/>
                    </a:cubicBezTo>
                    <a:cubicBezTo>
                      <a:pt x="88" y="378"/>
                      <a:pt x="87" y="222"/>
                      <a:pt x="0" y="207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gamma/>
                      <a:shade val="46275"/>
                      <a:invGamma/>
                    </a:schemeClr>
                  </a:gs>
                </a:gsLst>
                <a:lin ang="5400000" scaled="1"/>
              </a:gradFill>
              <a:ln w="9525">
                <a:round/>
                <a:headEnd/>
                <a:tailEnd/>
              </a:ln>
              <a:effectLst/>
              <a:scene3d>
                <a:camera prst="legacyPerspectiveTop"/>
                <a:lightRig rig="legacyNormal2" dir="t"/>
              </a:scene3d>
              <a:sp3d extrusionH="887400" prstMaterial="legacyMatte">
                <a:bevelT w="13500" h="13500" prst="angle"/>
                <a:bevelB w="13500" h="13500" prst="angle"/>
                <a:extrusionClr>
                  <a:schemeClr val="accent1"/>
                </a:extrusionClr>
              </a:sp3d>
            </p:spPr>
            <p:txBody>
              <a:bodyPr>
                <a:flatTx/>
              </a:bodyPr>
              <a:lstStyle/>
              <a:p>
                <a:endParaRPr lang="ru-RU"/>
              </a:p>
            </p:txBody>
          </p:sp>
          <p:sp>
            <p:nvSpPr>
              <p:cNvPr id="14" name="Freeform 13"/>
              <p:cNvSpPr>
                <a:spLocks/>
              </p:cNvSpPr>
              <p:nvPr/>
            </p:nvSpPr>
            <p:spPr bwMode="ltGray">
              <a:xfrm>
                <a:off x="650" y="1576"/>
                <a:ext cx="1348" cy="377"/>
              </a:xfrm>
              <a:custGeom>
                <a:avLst/>
                <a:gdLst/>
                <a:ahLst/>
                <a:cxnLst>
                  <a:cxn ang="0">
                    <a:pos x="0" y="183"/>
                  </a:cxn>
                  <a:cxn ang="0">
                    <a:pos x="309" y="340"/>
                  </a:cxn>
                  <a:cxn ang="0">
                    <a:pos x="670" y="225"/>
                  </a:cxn>
                  <a:cxn ang="0">
                    <a:pos x="1042" y="9"/>
                  </a:cxn>
                  <a:cxn ang="0">
                    <a:pos x="1348" y="165"/>
                  </a:cxn>
                </a:cxnLst>
                <a:rect l="0" t="0" r="r" b="b"/>
                <a:pathLst>
                  <a:path w="1348" h="341">
                    <a:moveTo>
                      <a:pt x="0" y="183"/>
                    </a:moveTo>
                    <a:cubicBezTo>
                      <a:pt x="84" y="205"/>
                      <a:pt x="78" y="326"/>
                      <a:pt x="309" y="340"/>
                    </a:cubicBezTo>
                    <a:cubicBezTo>
                      <a:pt x="421" y="341"/>
                      <a:pt x="563" y="306"/>
                      <a:pt x="670" y="225"/>
                    </a:cubicBezTo>
                    <a:cubicBezTo>
                      <a:pt x="777" y="144"/>
                      <a:pt x="932" y="17"/>
                      <a:pt x="1042" y="9"/>
                    </a:cubicBezTo>
                    <a:cubicBezTo>
                      <a:pt x="1237" y="0"/>
                      <a:pt x="1300" y="105"/>
                      <a:pt x="1348" y="165"/>
                    </a:cubicBezTo>
                  </a:path>
                </a:pathLst>
              </a:custGeom>
              <a:noFill/>
              <a:ln w="9525">
                <a:solidFill>
                  <a:srgbClr val="FFFFFF">
                    <a:alpha val="5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5" name="Freeform 14"/>
              <p:cNvSpPr>
                <a:spLocks/>
              </p:cNvSpPr>
              <p:nvPr/>
            </p:nvSpPr>
            <p:spPr bwMode="ltGray">
              <a:xfrm>
                <a:off x="653" y="3473"/>
                <a:ext cx="1345" cy="255"/>
              </a:xfrm>
              <a:custGeom>
                <a:avLst/>
                <a:gdLst/>
                <a:ahLst/>
                <a:cxnLst>
                  <a:cxn ang="0">
                    <a:pos x="1345" y="118"/>
                  </a:cxn>
                  <a:cxn ang="0">
                    <a:pos x="1015" y="1"/>
                  </a:cxn>
                  <a:cxn ang="0">
                    <a:pos x="718" y="112"/>
                  </a:cxn>
                  <a:cxn ang="0">
                    <a:pos x="295" y="253"/>
                  </a:cxn>
                  <a:cxn ang="0">
                    <a:pos x="0" y="102"/>
                  </a:cxn>
                </a:cxnLst>
                <a:rect l="0" t="0" r="r" b="b"/>
                <a:pathLst>
                  <a:path w="1345" h="255">
                    <a:moveTo>
                      <a:pt x="1345" y="118"/>
                    </a:moveTo>
                    <a:cubicBezTo>
                      <a:pt x="1288" y="64"/>
                      <a:pt x="1246" y="17"/>
                      <a:pt x="1015" y="1"/>
                    </a:cubicBezTo>
                    <a:cubicBezTo>
                      <a:pt x="903" y="0"/>
                      <a:pt x="826" y="55"/>
                      <a:pt x="718" y="112"/>
                    </a:cubicBezTo>
                    <a:cubicBezTo>
                      <a:pt x="610" y="169"/>
                      <a:pt x="479" y="255"/>
                      <a:pt x="295" y="253"/>
                    </a:cubicBezTo>
                    <a:cubicBezTo>
                      <a:pt x="111" y="251"/>
                      <a:pt x="73" y="201"/>
                      <a:pt x="0" y="102"/>
                    </a:cubicBezTo>
                  </a:path>
                </a:pathLst>
              </a:custGeom>
              <a:noFill/>
              <a:ln w="9525">
                <a:solidFill>
                  <a:srgbClr val="000000">
                    <a:alpha val="30000"/>
                  </a:srgbClr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26" name="WordArt 25"/>
            <p:cNvSpPr>
              <a:spLocks noChangeArrowheads="1" noChangeShapeType="1" noTextEdit="1"/>
            </p:cNvSpPr>
            <p:nvPr/>
          </p:nvSpPr>
          <p:spPr bwMode="gray">
            <a:xfrm rot="20581329">
              <a:off x="1797112" y="1142423"/>
              <a:ext cx="757531" cy="423164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ru-RU" sz="36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rgbClr val="002060"/>
                  </a:solidFill>
                  <a:latin typeface="Arial Black"/>
                </a:rPr>
                <a:t>611</a:t>
              </a:r>
              <a:endParaRPr lang="ru-RU" sz="3600" i="1" kern="10" dirty="0">
                <a:ln w="9525">
                  <a:noFill/>
                  <a:round/>
                  <a:headEnd/>
                  <a:tailEnd/>
                </a:ln>
                <a:solidFill>
                  <a:schemeClr val="accent2">
                    <a:lumMod val="50000"/>
                  </a:schemeClr>
                </a:solidFill>
                <a:latin typeface="Arial Black"/>
              </a:endParaRPr>
            </a:p>
          </p:txBody>
        </p:sp>
        <p:sp>
          <p:nvSpPr>
            <p:cNvPr id="27" name="Line 26"/>
            <p:cNvSpPr>
              <a:spLocks noChangeShapeType="1"/>
            </p:cNvSpPr>
            <p:nvPr/>
          </p:nvSpPr>
          <p:spPr bwMode="gray">
            <a:xfrm>
              <a:off x="1128184" y="3516313"/>
              <a:ext cx="2554816" cy="0"/>
            </a:xfrm>
            <a:prstGeom prst="line">
              <a:avLst/>
            </a:prstGeom>
            <a:noFill/>
            <a:ln w="12700" cap="rnd">
              <a:solidFill>
                <a:srgbClr val="FFFFFF">
                  <a:alpha val="50000"/>
                </a:srgbClr>
              </a:solidFill>
              <a:prstDash val="sysDot"/>
              <a:round/>
              <a:headEnd/>
              <a:tailEnd/>
            </a:ln>
            <a:effectLst>
              <a:outerShdw dist="28398" dir="20006097" algn="ctr" rotWithShape="0">
                <a:srgbClr val="000000">
                  <a:alpha val="50000"/>
                </a:srgbClr>
              </a:outerShdw>
            </a:effectLst>
          </p:spPr>
          <p:txBody>
            <a:bodyPr/>
            <a:lstStyle/>
            <a:p>
              <a:endParaRPr lang="ru-RU"/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black">
            <a:xfrm>
              <a:off x="4738166" y="2797337"/>
              <a:ext cx="2332567" cy="10156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из </a:t>
              </a:r>
              <a:r>
                <a:rPr lang="ru-RU" sz="2000" b="1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их: </a:t>
              </a:r>
            </a:p>
            <a:p>
              <a:pPr algn="ctr"/>
              <a:r>
                <a:rPr lang="ru-RU" sz="2000" b="1" dirty="0" smtClean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групп </a:t>
              </a:r>
              <a:r>
                <a:rPr lang="ru-RU" sz="2000" b="1" dirty="0">
                  <a:solidFill>
                    <a:schemeClr val="bg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ля детей раннего возраста</a:t>
              </a:r>
              <a:endParaRPr lang="en-US" sz="2000" b="1" dirty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gray">
            <a:xfrm>
              <a:off x="4639734" y="3484563"/>
              <a:ext cx="2554817" cy="0"/>
            </a:xfrm>
            <a:prstGeom prst="line">
              <a:avLst/>
            </a:prstGeom>
            <a:noFill/>
            <a:ln w="12700" cap="rnd">
              <a:solidFill>
                <a:srgbClr val="FFFFFF">
                  <a:alpha val="50000"/>
                </a:srgbClr>
              </a:solidFill>
              <a:prstDash val="sysDot"/>
              <a:round/>
              <a:headEnd/>
              <a:tailEnd/>
            </a:ln>
            <a:effectLst>
              <a:outerShdw dist="28398" dir="20006097" algn="ctr" rotWithShape="0">
                <a:srgbClr val="000000">
                  <a:alpha val="50000"/>
                </a:srgbClr>
              </a:outerShdw>
            </a:effectLst>
          </p:spPr>
          <p:txBody>
            <a:bodyPr/>
            <a:lstStyle/>
            <a:p>
              <a:endParaRPr lang="ru-RU"/>
            </a:p>
          </p:txBody>
        </p:sp>
        <p:sp>
          <p:nvSpPr>
            <p:cNvPr id="37" name="Text Box 36"/>
            <p:cNvSpPr txBox="1">
              <a:spLocks noChangeArrowheads="1"/>
            </p:cNvSpPr>
            <p:nvPr/>
          </p:nvSpPr>
          <p:spPr bwMode="black">
            <a:xfrm>
              <a:off x="8369030" y="2640093"/>
              <a:ext cx="2332567" cy="132343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/>
              <a:r>
                <a:rPr lang="ru-RU" sz="2000" b="1" dirty="0" smtClean="0">
                  <a:solidFill>
                    <a:schemeClr val="bg1"/>
                  </a:solidFill>
                </a:rPr>
                <a:t>из </a:t>
              </a:r>
              <a:r>
                <a:rPr lang="ru-RU" sz="2000" b="1" dirty="0">
                  <a:solidFill>
                    <a:schemeClr val="bg1"/>
                  </a:solidFill>
                </a:rPr>
                <a:t>них:</a:t>
              </a:r>
            </a:p>
            <a:p>
              <a:pPr algn="ctr"/>
              <a:r>
                <a:rPr lang="ru-RU" sz="2000" b="1" dirty="0" smtClean="0">
                  <a:solidFill>
                    <a:schemeClr val="bg1"/>
                  </a:solidFill>
                </a:rPr>
                <a:t>157 </a:t>
              </a:r>
              <a:r>
                <a:rPr lang="ru-RU" sz="2000" b="1" dirty="0">
                  <a:solidFill>
                    <a:schemeClr val="bg1"/>
                  </a:solidFill>
                </a:rPr>
                <a:t>групп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для </a:t>
              </a:r>
              <a:r>
                <a:rPr lang="ru-RU" sz="2000" b="1" dirty="0">
                  <a:solidFill>
                    <a:schemeClr val="bg1"/>
                  </a:solidFill>
                </a:rPr>
                <a:t>детей раннего возраста 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38" name="Picture 37" descr="Picture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8398934" y="1852614"/>
              <a:ext cx="759884" cy="268287"/>
            </a:xfrm>
            <a:prstGeom prst="rect">
              <a:avLst/>
            </a:prstGeom>
            <a:noFill/>
          </p:spPr>
        </p:pic>
        <p:sp>
          <p:nvSpPr>
            <p:cNvPr id="39" name="Line 38"/>
            <p:cNvSpPr>
              <a:spLocks noChangeShapeType="1"/>
            </p:cNvSpPr>
            <p:nvPr/>
          </p:nvSpPr>
          <p:spPr bwMode="gray">
            <a:xfrm>
              <a:off x="8225367" y="3481388"/>
              <a:ext cx="2554817" cy="0"/>
            </a:xfrm>
            <a:prstGeom prst="line">
              <a:avLst/>
            </a:prstGeom>
            <a:noFill/>
            <a:ln w="12700" cap="rnd">
              <a:solidFill>
                <a:srgbClr val="FFFFFF">
                  <a:alpha val="50000"/>
                </a:srgbClr>
              </a:solidFill>
              <a:prstDash val="sysDot"/>
              <a:round/>
              <a:headEnd/>
              <a:tailEnd/>
            </a:ln>
            <a:effectLst>
              <a:outerShdw dist="28398" dir="20006097" algn="ctr" rotWithShape="0">
                <a:srgbClr val="000000">
                  <a:alpha val="50000"/>
                </a:srgbClr>
              </a:outerShdw>
            </a:effectLst>
          </p:spPr>
          <p:txBody>
            <a:bodyPr/>
            <a:lstStyle/>
            <a:p>
              <a:endParaRPr lang="ru-RU"/>
            </a:p>
          </p:txBody>
        </p:sp>
        <p:sp>
          <p:nvSpPr>
            <p:cNvPr id="47" name="WordArt 46"/>
            <p:cNvSpPr>
              <a:spLocks noChangeArrowheads="1" noChangeShapeType="1" noTextEdit="1"/>
            </p:cNvSpPr>
            <p:nvPr/>
          </p:nvSpPr>
          <p:spPr bwMode="gray">
            <a:xfrm rot="21086336">
              <a:off x="9176179" y="1014474"/>
              <a:ext cx="1015214" cy="425761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ru-RU" sz="36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chemeClr val="accent1">
                      <a:lumMod val="25000"/>
                    </a:schemeClr>
                  </a:solidFill>
                  <a:latin typeface="Arial Black"/>
                </a:rPr>
                <a:t>510</a:t>
              </a:r>
              <a:endParaRPr lang="ru-RU" sz="3600" i="1" kern="10" dirty="0">
                <a:ln w="9525">
                  <a:noFill/>
                  <a:round/>
                  <a:headEnd/>
                  <a:tailEnd/>
                </a:ln>
                <a:solidFill>
                  <a:schemeClr val="accent5">
                    <a:lumMod val="50000"/>
                  </a:schemeClr>
                </a:solidFill>
                <a:latin typeface="Arial Black"/>
              </a:endParaRPr>
            </a:p>
          </p:txBody>
        </p:sp>
        <p:sp>
          <p:nvSpPr>
            <p:cNvPr id="18" name="Text Box 17"/>
            <p:cNvSpPr txBox="1">
              <a:spLocks noChangeArrowheads="1"/>
            </p:cNvSpPr>
            <p:nvPr/>
          </p:nvSpPr>
          <p:spPr bwMode="black">
            <a:xfrm rot="20729585">
              <a:off x="1451789" y="1541125"/>
              <a:ext cx="1593147" cy="40011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ru-RU" sz="20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групп</a:t>
              </a:r>
              <a:endPara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Text Box 17"/>
            <p:cNvSpPr txBox="1">
              <a:spLocks noChangeArrowheads="1"/>
            </p:cNvSpPr>
            <p:nvPr/>
          </p:nvSpPr>
          <p:spPr bwMode="black">
            <a:xfrm rot="20821066">
              <a:off x="3970495" y="1453973"/>
              <a:ext cx="3441860" cy="5847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групп компенсирующей направленности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Text Box 17"/>
            <p:cNvSpPr txBox="1">
              <a:spLocks noChangeArrowheads="1"/>
            </p:cNvSpPr>
            <p:nvPr/>
          </p:nvSpPr>
          <p:spPr bwMode="black">
            <a:xfrm rot="21199518">
              <a:off x="7752375" y="1473523"/>
              <a:ext cx="3400286" cy="5847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групп  </a:t>
              </a:r>
              <a:r>
                <a:rPr lang="ru-RU" sz="16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общеразвивающей направленности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WordArt 25"/>
            <p:cNvSpPr>
              <a:spLocks noChangeArrowheads="1" noChangeShapeType="1" noTextEdit="1"/>
            </p:cNvSpPr>
            <p:nvPr/>
          </p:nvSpPr>
          <p:spPr bwMode="gray">
            <a:xfrm rot="20713758">
              <a:off x="5297042" y="1044053"/>
              <a:ext cx="757531" cy="423164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ru-RU" sz="36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chemeClr val="accent2">
                      <a:lumMod val="50000"/>
                    </a:schemeClr>
                  </a:solidFill>
                  <a:latin typeface="Arial Black"/>
                </a:rPr>
                <a:t>96</a:t>
              </a:r>
              <a:endParaRPr lang="ru-RU" sz="3600" i="1" kern="10" dirty="0">
                <a:ln w="9525">
                  <a:noFill/>
                  <a:round/>
                  <a:headEnd/>
                  <a:tailEnd/>
                </a:ln>
                <a:solidFill>
                  <a:schemeClr val="accent2">
                    <a:lumMod val="50000"/>
                  </a:schemeClr>
                </a:solidFill>
                <a:latin typeface="Arial Black"/>
              </a:endParaRPr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8069792" y="3913106"/>
              <a:ext cx="2850091" cy="114504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Из них 11 </a:t>
              </a:r>
              <a:r>
                <a:rPr lang="ru-RU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групп кратковременного </a:t>
              </a:r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ебывания </a:t>
              </a:r>
            </a:p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в них 62 ребенка)</a:t>
              </a:r>
              <a:endPara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Скругленный прямоугольник 59"/>
            <p:cNvSpPr/>
            <p:nvPr/>
          </p:nvSpPr>
          <p:spPr>
            <a:xfrm>
              <a:off x="4551997" y="4098387"/>
              <a:ext cx="2826807" cy="885542"/>
            </a:xfrm>
            <a:prstGeom prst="roundRect">
              <a:avLst/>
            </a:prstGeom>
            <a:solidFill>
              <a:schemeClr val="bg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 </a:t>
              </a:r>
              <a:r>
                <a:rPr lang="en-US" sz="2400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ru-RU" sz="2400" b="1" dirty="0" smtClean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3 детей с ОВЗ</a:t>
              </a:r>
              <a:endPara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2" name="Скругленный прямоугольник 61"/>
          <p:cNvSpPr/>
          <p:nvPr/>
        </p:nvSpPr>
        <p:spPr>
          <a:xfrm>
            <a:off x="192539" y="5626920"/>
            <a:ext cx="11784632" cy="100622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2017 года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МДОУ № 127 функционируют 2 группы</a:t>
            </a:r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здоровительной направленности с круглосуточным пребыванием для </a:t>
            </a:r>
            <a:r>
              <a:rPr lang="ru-RU" sz="24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убинфицированных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етей</a:t>
            </a:r>
          </a:p>
          <a:p>
            <a:pPr algn="ctr"/>
            <a:endParaRPr lang="ru-RU" dirty="0"/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1 «Дошкольное образование»</a:t>
            </a:r>
          </a:p>
        </p:txBody>
      </p:sp>
      <p:sp>
        <p:nvSpPr>
          <p:cNvPr id="51" name="Номер слайда 3">
            <a:extLst>
              <a:ext uri="{FF2B5EF4-FFF2-40B4-BE49-F238E27FC236}">
                <a16:creationId xmlns:a16="http://schemas.microsoft.com/office/drawing/2014/main" xmlns="" id="{860B2097-C7A6-4F61-9527-F5A3197576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8368" y="6600953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4</a:t>
            </a:fld>
            <a:endParaRPr lang="en-US" altLang="ru-RU" dirty="0"/>
          </a:p>
        </p:txBody>
      </p:sp>
      <p:sp>
        <p:nvSpPr>
          <p:cNvPr id="52" name="Text Box 27"/>
          <p:cNvSpPr txBox="1">
            <a:spLocks noChangeArrowheads="1"/>
          </p:cNvSpPr>
          <p:nvPr/>
        </p:nvSpPr>
        <p:spPr bwMode="black">
          <a:xfrm>
            <a:off x="995099" y="2778198"/>
            <a:ext cx="2832716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х: </a:t>
            </a: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10 – общеразвивающих</a:t>
            </a: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6 – компенсирующих</a:t>
            </a: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– комбинированных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1015999" y="4177340"/>
            <a:ext cx="2826807" cy="885542"/>
          </a:xfrm>
          <a:prstGeom prst="roundRect">
            <a:avLst/>
          </a:prstGeom>
          <a:solidFill>
            <a:schemeClr val="bg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 275 детей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7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551384" y="5952881"/>
            <a:ext cx="4783978" cy="64807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ение детьми в возрасте от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5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7 лет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рупп полного дня на базе школ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более 300 детей</a:t>
            </a:r>
            <a:endParaRPr lang="ru-RU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384032" y="5630574"/>
            <a:ext cx="5564336" cy="822761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ение негосударственного детского сада раннего развития  «Теремок</a:t>
            </a:r>
            <a:r>
              <a:rPr lang="ru-RU" sz="2000" b="1" dirty="0" smtClean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- 13 </a:t>
            </a:r>
            <a:r>
              <a:rPr lang="ru-RU" sz="2000" b="1" dirty="0">
                <a:solidFill>
                  <a:srgbClr val="FF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98853" y="2308827"/>
            <a:ext cx="8461443" cy="1212505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режима кратковременного </a:t>
            </a:r>
            <a:r>
              <a:rPr lang="ru-RU" sz="16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бывания: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аптационные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уппы, Клуб р/р «Умка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«Крошки-ладошки»,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о-родительский Клуб «Кроха», «Мой малыш», Клуб выходного дня, «Вместе с мамой», «</a:t>
            </a:r>
            <a:r>
              <a:rPr lang="ru-RU" sz="16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эйби-клаб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в т.ч. и детьми с ОВЗ «Особый ребенок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791744" y="4227668"/>
            <a:ext cx="5904656" cy="1101126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ирование консультационных пунктов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родителей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не посещающих МДОУ – на базе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ДОУ</a:t>
            </a: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ирование </a:t>
            </a:r>
            <a:r>
              <a:rPr lang="ru-RU" sz="16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котеки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МДОУ 107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ужб ранней помощи – 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311" y="2221619"/>
            <a:ext cx="2912071" cy="192877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57" y="3680573"/>
            <a:ext cx="3282717" cy="19772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2423592" y="874348"/>
            <a:ext cx="6634275" cy="375472"/>
          </a:xfrm>
          <a:prstGeom prst="rect">
            <a:avLst/>
          </a:prstGeom>
          <a:blipFill dpi="0" rotWithShape="0">
            <a:blip r:embed="rId5" cstate="print"/>
            <a:srcRect/>
            <a:stretch>
              <a:fillRect/>
            </a:stretch>
          </a:blipFill>
          <a:ln>
            <a:noFill/>
          </a:ln>
          <a:effectLst>
            <a:outerShdw dist="107933" dir="2700000" algn="ctr" rotWithShape="0">
              <a:srgbClr val="808080">
                <a:alpha val="50026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lIns="73146" tIns="38036" rIns="73146" bIns="38036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buSzPct val="100000"/>
            </a:pPr>
            <a:r>
              <a:rPr lang="ru-RU" alt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rPr>
              <a:t>Охват детей вариативными </a:t>
            </a:r>
            <a:r>
              <a:rPr lang="ru-RU" alt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Times New Roman" panose="02020603050405020304" pitchFamily="18" charset="0"/>
              </a:rPr>
              <a:t>формами образования</a:t>
            </a:r>
            <a:endParaRPr lang="ru-RU" altLang="ru-RU" sz="2000" b="1" dirty="0">
              <a:solidFill>
                <a:srgbClr val="002060"/>
              </a:solidFill>
              <a:latin typeface="Times New Roman" panose="02020603050405020304" pitchFamily="18" charset="0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xmlns="" id="{506EC07B-01E5-4E58-8320-9611F2494D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8368" y="6600953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5</a:t>
            </a:fld>
            <a:endParaRPr lang="en-US" altLang="ru-RU" dirty="0"/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0B014634-C9D8-449F-AFD9-AFB742544172}"/>
              </a:ext>
            </a:extLst>
          </p:cNvPr>
          <p:cNvSpPr txBox="1">
            <a:spLocks/>
          </p:cNvSpPr>
          <p:nvPr/>
        </p:nvSpPr>
        <p:spPr>
          <a:xfrm>
            <a:off x="3702" y="346484"/>
            <a:ext cx="10949694" cy="369332"/>
          </a:xfrm>
          <a:prstGeom prst="rect">
            <a:avLst/>
          </a:prstGeom>
        </p:spPr>
        <p:txBody>
          <a:bodyPr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0413" algn="l" defTabSz="90173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20909" algn="l" defTabSz="90173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81371" algn="l" defTabSz="90173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41829" algn="l" defTabSz="90173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2400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одпрограмма 1 «Дошкольное образование»</a:t>
            </a:r>
          </a:p>
        </p:txBody>
      </p:sp>
      <p:sp>
        <p:nvSpPr>
          <p:cNvPr id="13" name="Rectangle: Rounded Corners 7">
            <a:extLst>
              <a:ext uri="{FF2B5EF4-FFF2-40B4-BE49-F238E27FC236}">
                <a16:creationId xmlns:a16="http://schemas.microsoft.com/office/drawing/2014/main" xmlns="" id="{1010B4E6-59A1-41CF-A1D4-32CF075B4938}"/>
              </a:ext>
            </a:extLst>
          </p:cNvPr>
          <p:cNvSpPr/>
          <p:nvPr/>
        </p:nvSpPr>
        <p:spPr>
          <a:xfrm>
            <a:off x="1135880" y="1417704"/>
            <a:ext cx="9684273" cy="616130"/>
          </a:xfrm>
          <a:prstGeom prst="roundRect">
            <a:avLst>
              <a:gd name="adj" fmla="val 6311"/>
            </a:avLst>
          </a:prstGeom>
          <a:solidFill>
            <a:schemeClr val="accent1"/>
          </a:solidFill>
          <a:ln w="5715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Для родителей детей возрастной категории с 1 года до 3 лет, не желающих водить ребенка на полный день пребывания, предлагаются на выбор вариативные формы дошкольного образования</a:t>
            </a:r>
            <a:r>
              <a:rPr lang="ru-RU" sz="16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.</a:t>
            </a:r>
            <a:r>
              <a:rPr lang="ru-RU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4234127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4F7C4551-0F23-41DA-BC00-2F257F5BBD09}"/>
              </a:ext>
            </a:extLst>
          </p:cNvPr>
          <p:cNvGrpSpPr/>
          <p:nvPr/>
        </p:nvGrpSpPr>
        <p:grpSpPr>
          <a:xfrm>
            <a:off x="-23926" y="743067"/>
            <a:ext cx="12020777" cy="5372687"/>
            <a:chOff x="-23926" y="743067"/>
            <a:chExt cx="12020777" cy="5372687"/>
          </a:xfrm>
        </p:grpSpPr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xmlns="" id="{CC1F4E13-F7A3-453D-8ABD-86A46A027620}"/>
                </a:ext>
              </a:extLst>
            </p:cNvPr>
            <p:cNvSpPr/>
            <p:nvPr/>
          </p:nvSpPr>
          <p:spPr>
            <a:xfrm>
              <a:off x="4490129" y="3459908"/>
              <a:ext cx="7006850" cy="8869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b="1" dirty="0">
                <a:solidFill>
                  <a:srgbClr val="002060"/>
                </a:solidFill>
              </a:endParaRPr>
            </a:p>
          </p:txBody>
        </p:sp>
        <p:sp>
          <p:nvSpPr>
            <p:cNvPr id="7" name="Rectangle 2">
              <a:extLst>
                <a:ext uri="{FF2B5EF4-FFF2-40B4-BE49-F238E27FC236}">
                  <a16:creationId xmlns:a16="http://schemas.microsoft.com/office/drawing/2014/main" xmlns="" id="{3146B4C5-7E3C-4F64-A8C1-3EB191722C7F}"/>
                </a:ext>
              </a:extLst>
            </p:cNvPr>
            <p:cNvSpPr/>
            <p:nvPr/>
          </p:nvSpPr>
          <p:spPr>
            <a:xfrm>
              <a:off x="3990257" y="1141580"/>
              <a:ext cx="8006594" cy="88202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  <a:p>
              <a:pPr lvl="0"/>
              <a:endParaRPr lang="ru-RU" sz="1200" dirty="0">
                <a:solidFill>
                  <a:schemeClr val="tx1"/>
                </a:solidFill>
              </a:endParaRPr>
            </a:p>
            <a:p>
              <a:pPr lvl="0"/>
              <a:r>
                <a:rPr lang="ru-RU" sz="15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Предоставить всем детям в возрасте от 2 месяцев до 2 лет, родители которых заинтересованы в услугах дошкольного образования, разнообразные вариативные формы дошкольного образования по их выбору</a:t>
              </a:r>
            </a:p>
            <a:p>
              <a:pPr lvl="0" algn="ctr"/>
              <a:endParaRPr lang="ru-RU" sz="1600" dirty="0"/>
            </a:p>
            <a:p>
              <a:pPr lvl="0" algn="ctr"/>
              <a:r>
                <a:rPr lang="ru-RU" dirty="0"/>
                <a:t>  </a:t>
              </a:r>
            </a:p>
          </p:txBody>
        </p:sp>
        <p:sp>
          <p:nvSpPr>
            <p:cNvPr id="5" name="Rectangle: Rounded Corners 1">
              <a:extLst>
                <a:ext uri="{FF2B5EF4-FFF2-40B4-BE49-F238E27FC236}">
                  <a16:creationId xmlns:a16="http://schemas.microsoft.com/office/drawing/2014/main" xmlns="" id="{9792DA7F-7C25-442A-8D71-ED2C4FF34DA1}"/>
                </a:ext>
              </a:extLst>
            </p:cNvPr>
            <p:cNvSpPr/>
            <p:nvPr/>
          </p:nvSpPr>
          <p:spPr>
            <a:xfrm>
              <a:off x="1894414" y="978693"/>
              <a:ext cx="1955632" cy="1215280"/>
            </a:xfrm>
            <a:prstGeom prst="roundRect">
              <a:avLst>
                <a:gd name="adj" fmla="val 6311"/>
              </a:avLst>
            </a:prstGeom>
            <a:solidFill>
              <a:schemeClr val="accent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52B17D86-D326-4DC9-893F-DBEEDC599AFC}"/>
                </a:ext>
              </a:extLst>
            </p:cNvPr>
            <p:cNvSpPr txBox="1"/>
            <p:nvPr/>
          </p:nvSpPr>
          <p:spPr>
            <a:xfrm>
              <a:off x="1955928" y="1043982"/>
              <a:ext cx="1816054" cy="1077218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lvl="0" algn="ctr"/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Перспективная задача департамента образования </a:t>
              </a:r>
            </a:p>
          </p:txBody>
        </p:sp>
        <p:sp>
          <p:nvSpPr>
            <p:cNvPr id="16" name="Rectangle: Rounded Corners 7">
              <a:extLst>
                <a:ext uri="{FF2B5EF4-FFF2-40B4-BE49-F238E27FC236}">
                  <a16:creationId xmlns:a16="http://schemas.microsoft.com/office/drawing/2014/main" xmlns="" id="{1010B4E6-59A1-41CF-A1D4-32CF075B4938}"/>
                </a:ext>
              </a:extLst>
            </p:cNvPr>
            <p:cNvSpPr/>
            <p:nvPr/>
          </p:nvSpPr>
          <p:spPr>
            <a:xfrm>
              <a:off x="2505821" y="3016982"/>
              <a:ext cx="2185555" cy="1309501"/>
            </a:xfrm>
            <a:prstGeom prst="roundRect">
              <a:avLst>
                <a:gd name="adj" fmla="val 6311"/>
              </a:avLst>
            </a:prstGeom>
            <a:solidFill>
              <a:schemeClr val="accent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Все желающие дети в возрасте от 2-х месяцев до 8 лет зачислены в ДОУ</a:t>
              </a:r>
            </a:p>
          </p:txBody>
        </p:sp>
        <p:sp>
          <p:nvSpPr>
            <p:cNvPr id="23" name="Rectangle: Rounded Corners 7">
              <a:extLst>
                <a:ext uri="{FF2B5EF4-FFF2-40B4-BE49-F238E27FC236}">
                  <a16:creationId xmlns:a16="http://schemas.microsoft.com/office/drawing/2014/main" xmlns="" id="{1010B4E6-59A1-41CF-A1D4-32CF075B4938}"/>
                </a:ext>
              </a:extLst>
            </p:cNvPr>
            <p:cNvSpPr/>
            <p:nvPr/>
          </p:nvSpPr>
          <p:spPr>
            <a:xfrm>
              <a:off x="162984" y="4613813"/>
              <a:ext cx="3178475" cy="1501941"/>
            </a:xfrm>
            <a:prstGeom prst="roundRect">
              <a:avLst>
                <a:gd name="adj" fmla="val 6311"/>
              </a:avLst>
            </a:prstGeom>
            <a:solidFill>
              <a:schemeClr val="accent1"/>
            </a:solidFill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algn="ctr"/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На регистрационном учете в информационной системе АИС «Комплектование ДОУ» для определения</a:t>
              </a:r>
              <a:b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</a:br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в детские сады</a:t>
              </a:r>
            </a:p>
            <a:p>
              <a:pPr algn="ctr"/>
              <a:endPara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1" name="Rectangle 6">
              <a:extLst>
                <a:ext uri="{FF2B5EF4-FFF2-40B4-BE49-F238E27FC236}">
                  <a16:creationId xmlns:a16="http://schemas.microsoft.com/office/drawing/2014/main" xmlns="" id="{CC1F4E13-F7A3-453D-8ABD-86A46A027620}"/>
                </a:ext>
              </a:extLst>
            </p:cNvPr>
            <p:cNvSpPr/>
            <p:nvPr/>
          </p:nvSpPr>
          <p:spPr>
            <a:xfrm>
              <a:off x="3647165" y="4855555"/>
              <a:ext cx="6451053" cy="97055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1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1 627 детей </a:t>
              </a:r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в возрасте от рождения до 3 лет, </a:t>
              </a:r>
              <a:r>
                <a:rPr lang="ru-RU" sz="16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в том числе в возрасте </a:t>
              </a:r>
              <a:r>
                <a:rPr lang="ru-RU" sz="16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от 1,5 до </a:t>
              </a:r>
              <a:r>
                <a:rPr lang="ru-RU" sz="16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3 лет – </a:t>
              </a:r>
              <a:r>
                <a:rPr lang="ru-RU" sz="16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171 ребенка</a:t>
              </a:r>
              <a:endPara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r>
                <a:rPr lang="ru-RU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(желаемая дата посещения ДОУ указанной категории детей - </a:t>
              </a:r>
              <a:r>
                <a:rPr lang="ru-RU" sz="1200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2023 </a:t>
              </a:r>
              <a:r>
                <a:rPr lang="ru-RU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год)</a:t>
              </a: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4892623" y="3501547"/>
              <a:ext cx="644303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6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Увеличилась доля детей (от числа нуждающихся) в возрасте </a:t>
              </a:r>
            </a:p>
            <a:p>
              <a:r>
                <a:rPr lang="ru-RU" sz="16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от 2-х месяцев до 8 лет, получающих дошкольное образование – </a:t>
              </a:r>
              <a:r>
                <a:rPr lang="ru-RU" sz="1600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99%</a:t>
              </a:r>
              <a:endParaRPr lang="ru-RU" sz="16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593" y="743067"/>
              <a:ext cx="1716013" cy="2179397"/>
            </a:xfrm>
            <a:prstGeom prst="rect">
              <a:avLst/>
            </a:prstGeom>
          </p:spPr>
        </p:pic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8228" y="1773769"/>
              <a:ext cx="2679979" cy="165345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3926" y="2852936"/>
              <a:ext cx="2397814" cy="152665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47"/>
            <a:stretch/>
          </p:blipFill>
          <p:spPr>
            <a:xfrm>
              <a:off x="9746970" y="4379592"/>
              <a:ext cx="2216569" cy="17361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58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1 «Дошкольное образование»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708EAD13-41DE-40E8-A012-4925BD74F4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8368" y="6600953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6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2017913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3031"/>
          <p:cNvSpPr>
            <a:spLocks noChangeArrowheads="1"/>
          </p:cNvSpPr>
          <p:nvPr/>
        </p:nvSpPr>
        <p:spPr bwMode="auto">
          <a:xfrm>
            <a:off x="4957088" y="2286366"/>
            <a:ext cx="2640552" cy="591238"/>
          </a:xfrm>
          <a:prstGeom prst="cube">
            <a:avLst>
              <a:gd name="adj" fmla="val 32713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endParaRPr lang="en-US" altLang="ru-RU" sz="600">
              <a:ea typeface="Gulim" panose="020B0600000101010101" pitchFamily="34" charset="-127"/>
              <a:sym typeface="Gulim" panose="020B0600000101010101" pitchFamily="34" charset="-127"/>
            </a:endParaRPr>
          </a:p>
        </p:txBody>
      </p:sp>
      <p:sp>
        <p:nvSpPr>
          <p:cNvPr id="9" name="AutoShape 3030"/>
          <p:cNvSpPr>
            <a:spLocks noChangeArrowheads="1"/>
          </p:cNvSpPr>
          <p:nvPr/>
        </p:nvSpPr>
        <p:spPr bwMode="auto">
          <a:xfrm>
            <a:off x="2353216" y="2732389"/>
            <a:ext cx="2485093" cy="819858"/>
          </a:xfrm>
          <a:prstGeom prst="cube">
            <a:avLst>
              <a:gd name="adj" fmla="val 32713"/>
            </a:avLst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endParaRPr lang="en-US" altLang="ru-RU" sz="600">
              <a:ea typeface="Gulim" panose="020B0600000101010101" pitchFamily="34" charset="-127"/>
              <a:sym typeface="Gulim" panose="020B0600000101010101" pitchFamily="34" charset="-127"/>
            </a:endParaRPr>
          </a:p>
        </p:txBody>
      </p: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2555455" y="1170858"/>
            <a:ext cx="2038040" cy="1766887"/>
            <a:chOff x="0" y="0"/>
            <a:chExt cx="952" cy="1106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5" name="Oval 3055"/>
            <p:cNvSpPr>
              <a:spLocks noChangeArrowheads="1"/>
            </p:cNvSpPr>
            <p:nvPr/>
          </p:nvSpPr>
          <p:spPr bwMode="auto">
            <a:xfrm rot="-2771362">
              <a:off x="0" y="0"/>
              <a:ext cx="952" cy="95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1pPr>
              <a:lvl2pPr marL="742950" indent="-28575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2pPr>
              <a:lvl3pPr marL="11430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3pPr>
              <a:lvl4pPr marL="16002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4pPr>
              <a:lvl5pPr marL="20574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5pPr>
              <a:lvl6pPr marL="25146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6pPr>
              <a:lvl7pPr marL="29718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7pPr>
              <a:lvl8pPr marL="34290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8pPr>
              <a:lvl9pPr marL="38862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9pPr>
            </a:lstStyle>
            <a:p>
              <a:endParaRPr lang="en-US" altLang="ru-RU" sz="600">
                <a:ea typeface="Gulim" panose="020B0600000101010101" pitchFamily="34" charset="-127"/>
                <a:sym typeface="Gulim" panose="020B0600000101010101" pitchFamily="34" charset="-127"/>
              </a:endParaRPr>
            </a:p>
          </p:txBody>
        </p:sp>
        <p:grpSp>
          <p:nvGrpSpPr>
            <p:cNvPr id="6" name="Group 17"/>
            <p:cNvGrpSpPr>
              <a:grpSpLocks/>
            </p:cNvGrpSpPr>
            <p:nvPr/>
          </p:nvGrpSpPr>
          <p:grpSpPr bwMode="auto">
            <a:xfrm>
              <a:off x="274" y="979"/>
              <a:ext cx="403" cy="127"/>
              <a:chOff x="0" y="0"/>
              <a:chExt cx="576" cy="181"/>
            </a:xfrm>
            <a:grpFill/>
          </p:grpSpPr>
          <p:sp>
            <p:nvSpPr>
              <p:cNvPr id="7" name="Oval 305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576" cy="18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1pPr>
                <a:lvl2pPr marL="742950" indent="-28575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2pPr>
                <a:lvl3pPr marL="11430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3pPr>
                <a:lvl4pPr marL="16002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4pPr>
                <a:lvl5pPr marL="20574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5pPr>
                <a:lvl6pPr marL="25146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6pPr>
                <a:lvl7pPr marL="29718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7pPr>
                <a:lvl8pPr marL="34290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8pPr>
                <a:lvl9pPr marL="38862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9pPr>
              </a:lstStyle>
              <a:p>
                <a:endParaRPr lang="en-US" altLang="ru-RU" sz="600">
                  <a:ea typeface="Gulim" panose="020B0600000101010101" pitchFamily="34" charset="-127"/>
                  <a:sym typeface="Gulim" panose="020B0600000101010101" pitchFamily="34" charset="-127"/>
                </a:endParaRPr>
              </a:p>
            </p:txBody>
          </p:sp>
          <p:sp>
            <p:nvSpPr>
              <p:cNvPr id="8" name="Oval 3058"/>
              <p:cNvSpPr>
                <a:spLocks noChangeArrowheads="1"/>
              </p:cNvSpPr>
              <p:nvPr/>
            </p:nvSpPr>
            <p:spPr bwMode="auto">
              <a:xfrm>
                <a:off x="105" y="33"/>
                <a:ext cx="366" cy="11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1pPr>
                <a:lvl2pPr marL="742950" indent="-28575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2pPr>
                <a:lvl3pPr marL="11430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3pPr>
                <a:lvl4pPr marL="16002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4pPr>
                <a:lvl5pPr marL="20574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5pPr>
                <a:lvl6pPr marL="25146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6pPr>
                <a:lvl7pPr marL="29718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7pPr>
                <a:lvl8pPr marL="34290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8pPr>
                <a:lvl9pPr marL="38862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9pPr>
              </a:lstStyle>
              <a:p>
                <a:endParaRPr lang="en-US" altLang="ru-RU" sz="600">
                  <a:ea typeface="Gulim" panose="020B0600000101010101" pitchFamily="34" charset="-127"/>
                  <a:sym typeface="Gulim" panose="020B0600000101010101" pitchFamily="34" charset="-127"/>
                </a:endParaRPr>
              </a:p>
            </p:txBody>
          </p:sp>
        </p:grpSp>
      </p:grpSp>
      <p:sp>
        <p:nvSpPr>
          <p:cNvPr id="11" name="Rectangle 3086"/>
          <p:cNvSpPr>
            <a:spLocks noChangeArrowheads="1"/>
          </p:cNvSpPr>
          <p:nvPr/>
        </p:nvSpPr>
        <p:spPr bwMode="auto">
          <a:xfrm>
            <a:off x="2448825" y="3055709"/>
            <a:ext cx="24926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и МДОУ</a:t>
            </a:r>
            <a:endParaRPr lang="en-US" altLang="en-US" sz="1600" b="1" dirty="0"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12" name="Text Box 3096"/>
          <p:cNvSpPr>
            <a:spLocks noChangeArrowheads="1"/>
          </p:cNvSpPr>
          <p:nvPr/>
        </p:nvSpPr>
        <p:spPr bwMode="auto">
          <a:xfrm>
            <a:off x="2383580" y="1617710"/>
            <a:ext cx="231514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pPr algn="ctr"/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 </a:t>
            </a: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18 </a:t>
            </a:r>
            <a:endParaRPr lang="en-US" altLang="en-US" sz="3200" b="1" dirty="0"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grpSp>
        <p:nvGrpSpPr>
          <p:cNvPr id="13" name="Group 23"/>
          <p:cNvGrpSpPr>
            <a:grpSpLocks/>
          </p:cNvGrpSpPr>
          <p:nvPr/>
        </p:nvGrpSpPr>
        <p:grpSpPr bwMode="auto">
          <a:xfrm>
            <a:off x="5098362" y="898730"/>
            <a:ext cx="2019500" cy="1553413"/>
            <a:chOff x="0" y="0"/>
            <a:chExt cx="952" cy="1106"/>
          </a:xfrm>
        </p:grpSpPr>
        <p:sp>
          <p:nvSpPr>
            <p:cNvPr id="14" name="Oval 3050"/>
            <p:cNvSpPr>
              <a:spLocks noChangeArrowheads="1"/>
            </p:cNvSpPr>
            <p:nvPr/>
          </p:nvSpPr>
          <p:spPr bwMode="auto">
            <a:xfrm rot="-2771362">
              <a:off x="0" y="0"/>
              <a:ext cx="952" cy="952"/>
            </a:xfrm>
            <a:prstGeom prst="ellipse">
              <a:avLst/>
            </a:prstGeom>
            <a:gradFill rotWithShape="1">
              <a:gsLst>
                <a:gs pos="0">
                  <a:srgbClr val="FF0066"/>
                </a:gs>
                <a:gs pos="100000">
                  <a:srgbClr val="76002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1pPr>
              <a:lvl2pPr marL="742950" indent="-28575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2pPr>
              <a:lvl3pPr marL="11430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3pPr>
              <a:lvl4pPr marL="16002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4pPr>
              <a:lvl5pPr marL="2057400" indent="-228600"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5pPr>
              <a:lvl6pPr marL="25146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6pPr>
              <a:lvl7pPr marL="29718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7pPr>
              <a:lvl8pPr marL="34290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8pPr>
              <a:lvl9pPr marL="3886200" indent="-228600" algn="r" eaLnBrk="0" fontAlgn="base" latinLnBrk="1" hangingPunct="0">
                <a:spcBef>
                  <a:spcPct val="0"/>
                </a:spcBef>
                <a:spcAft>
                  <a:spcPct val="0"/>
                </a:spcAft>
                <a:defRPr sz="800">
                  <a:solidFill>
                    <a:schemeClr val="tx1"/>
                  </a:solidFill>
                  <a:latin typeface="Gulim" panose="020B0600000101010101" pitchFamily="34" charset="-127"/>
                  <a:ea typeface="宋体" panose="02010600030101010101" pitchFamily="2" charset="-122"/>
                </a:defRPr>
              </a:lvl9pPr>
            </a:lstStyle>
            <a:p>
              <a:endParaRPr lang="en-US" altLang="ru-RU" sz="600">
                <a:ea typeface="Gulim" panose="020B0600000101010101" pitchFamily="34" charset="-127"/>
                <a:sym typeface="Gulim" panose="020B0600000101010101" pitchFamily="34" charset="-127"/>
              </a:endParaRPr>
            </a:p>
          </p:txBody>
        </p:sp>
        <p:grpSp>
          <p:nvGrpSpPr>
            <p:cNvPr id="15" name="Group 25"/>
            <p:cNvGrpSpPr>
              <a:grpSpLocks/>
            </p:cNvGrpSpPr>
            <p:nvPr/>
          </p:nvGrpSpPr>
          <p:grpSpPr bwMode="auto">
            <a:xfrm>
              <a:off x="274" y="979"/>
              <a:ext cx="403" cy="127"/>
              <a:chOff x="0" y="0"/>
              <a:chExt cx="576" cy="181"/>
            </a:xfrm>
          </p:grpSpPr>
          <p:sp>
            <p:nvSpPr>
              <p:cNvPr id="16" name="Oval 306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576" cy="181"/>
              </a:xfrm>
              <a:prstGeom prst="ellipse">
                <a:avLst/>
              </a:prstGeom>
              <a:solidFill>
                <a:srgbClr val="808080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1pPr>
                <a:lvl2pPr marL="742950" indent="-28575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2pPr>
                <a:lvl3pPr marL="11430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3pPr>
                <a:lvl4pPr marL="16002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4pPr>
                <a:lvl5pPr marL="20574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5pPr>
                <a:lvl6pPr marL="25146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6pPr>
                <a:lvl7pPr marL="29718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7pPr>
                <a:lvl8pPr marL="34290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8pPr>
                <a:lvl9pPr marL="38862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9pPr>
              </a:lstStyle>
              <a:p>
                <a:endParaRPr lang="en-US" altLang="ru-RU" sz="600">
                  <a:ea typeface="Gulim" panose="020B0600000101010101" pitchFamily="34" charset="-127"/>
                  <a:sym typeface="Gulim" panose="020B0600000101010101" pitchFamily="34" charset="-127"/>
                </a:endParaRPr>
              </a:p>
            </p:txBody>
          </p:sp>
          <p:sp>
            <p:nvSpPr>
              <p:cNvPr id="17" name="Oval 3066"/>
              <p:cNvSpPr>
                <a:spLocks noChangeArrowheads="1"/>
              </p:cNvSpPr>
              <p:nvPr/>
            </p:nvSpPr>
            <p:spPr bwMode="auto">
              <a:xfrm>
                <a:off x="105" y="33"/>
                <a:ext cx="366" cy="115"/>
              </a:xfrm>
              <a:prstGeom prst="ellipse">
                <a:avLst/>
              </a:prstGeom>
              <a:solidFill>
                <a:srgbClr val="808080">
                  <a:alpha val="65097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1pPr>
                <a:lvl2pPr marL="742950" indent="-28575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2pPr>
                <a:lvl3pPr marL="11430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3pPr>
                <a:lvl4pPr marL="16002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4pPr>
                <a:lvl5pPr marL="2057400" indent="-228600"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5pPr>
                <a:lvl6pPr marL="25146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6pPr>
                <a:lvl7pPr marL="29718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7pPr>
                <a:lvl8pPr marL="34290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8pPr>
                <a:lvl9pPr marL="3886200" indent="-228600" algn="r" eaLnBrk="0" fontAlgn="base" latinLnBrk="1" hangingPunct="0">
                  <a:spcBef>
                    <a:spcPct val="0"/>
                  </a:spcBef>
                  <a:spcAft>
                    <a:spcPct val="0"/>
                  </a:spcAft>
                  <a:defRPr sz="800">
                    <a:solidFill>
                      <a:schemeClr val="tx1"/>
                    </a:solidFill>
                    <a:latin typeface="Gulim" panose="020B0600000101010101" pitchFamily="34" charset="-127"/>
                    <a:ea typeface="宋体" panose="02010600030101010101" pitchFamily="2" charset="-122"/>
                  </a:defRPr>
                </a:lvl9pPr>
              </a:lstStyle>
              <a:p>
                <a:endParaRPr lang="en-US" altLang="ru-RU" sz="600">
                  <a:ea typeface="Gulim" panose="020B0600000101010101" pitchFamily="34" charset="-127"/>
                  <a:sym typeface="Gulim" panose="020B0600000101010101" pitchFamily="34" charset="-127"/>
                </a:endParaRPr>
              </a:p>
            </p:txBody>
          </p:sp>
        </p:grpSp>
      </p:grpSp>
      <p:sp>
        <p:nvSpPr>
          <p:cNvPr id="24" name="Text Box 3097"/>
          <p:cNvSpPr>
            <a:spLocks noChangeArrowheads="1"/>
          </p:cNvSpPr>
          <p:nvPr/>
        </p:nvSpPr>
        <p:spPr bwMode="auto">
          <a:xfrm>
            <a:off x="5008491" y="1152936"/>
            <a:ext cx="212032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 </a:t>
            </a:r>
            <a:r>
              <a:rPr lang="ru-RU" sz="32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52 </a:t>
            </a:r>
            <a:endParaRPr lang="en-US" altLang="en-US" sz="3200" b="1" dirty="0">
              <a:solidFill>
                <a:schemeClr val="bg1"/>
              </a:solidFill>
              <a:latin typeface="Times New Roman" panose="02020603050405020304" pitchFamily="18" charset="0"/>
              <a:ea typeface="Gulim" panose="020B0600000101010101" pitchFamily="34" charset="-127"/>
              <a:cs typeface="Times New Roman" panose="02020603050405020304" pitchFamily="18" charset="0"/>
            </a:endParaRPr>
          </a:p>
        </p:txBody>
      </p:sp>
      <p:sp>
        <p:nvSpPr>
          <p:cNvPr id="35" name="Text Box 3097"/>
          <p:cNvSpPr>
            <a:spLocks noChangeArrowheads="1"/>
          </p:cNvSpPr>
          <p:nvPr/>
        </p:nvSpPr>
        <p:spPr bwMode="auto">
          <a:xfrm>
            <a:off x="5144353" y="2483248"/>
            <a:ext cx="21203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1pPr>
            <a:lvl2pPr marL="742950" indent="-28575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2pPr>
            <a:lvl3pPr marL="11430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3pPr>
            <a:lvl4pPr marL="16002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4pPr>
            <a:lvl5pPr marL="2057400" indent="-228600"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5pPr>
            <a:lvl6pPr marL="25146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6pPr>
            <a:lvl7pPr marL="29718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7pPr>
            <a:lvl8pPr marL="34290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8pPr>
            <a:lvl9pPr marL="3886200" indent="-228600" algn="r" eaLnBrk="0" fontAlgn="base" latinLnBrk="1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Gulim" panose="020B0600000101010101" pitchFamily="34" charset="-127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ru-R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</a:t>
            </a:r>
            <a:r>
              <a:rPr lang="ru-RU" sz="1800" b="1" dirty="0" smtClean="0"/>
              <a:t> </a:t>
            </a:r>
            <a:endParaRPr lang="en-US" altLang="en-US" sz="1600" b="1" dirty="0">
              <a:ea typeface="Gulim" panose="020B0600000101010101" pitchFamily="34" charset="-127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98362" y="3062349"/>
            <a:ext cx="6096000" cy="89255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  <a:softEdge rad="12700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Есть потребность в педагогах системы </a:t>
            </a:r>
            <a:r>
              <a:rPr lang="ru-RU" sz="1600" b="1" dirty="0" smtClean="0"/>
              <a:t>сопровождения: </a:t>
            </a:r>
            <a:r>
              <a:rPr lang="ru-RU" sz="1600" dirty="0" smtClean="0"/>
              <a:t>дефектологи</a:t>
            </a:r>
            <a:r>
              <a:rPr lang="ru-RU" sz="1600" dirty="0"/>
              <a:t>, логопеды, </a:t>
            </a:r>
            <a:r>
              <a:rPr lang="ru-RU" sz="1600" dirty="0" err="1" smtClean="0"/>
              <a:t>тьюторы</a:t>
            </a:r>
            <a:r>
              <a:rPr lang="ru-RU" sz="1600" dirty="0" smtClean="0"/>
              <a:t>, педагоги-психологи, а также музыкальные руководители </a:t>
            </a:r>
            <a:r>
              <a:rPr lang="ru-RU" sz="1600" dirty="0"/>
              <a:t>ДОУ</a:t>
            </a:r>
            <a:r>
              <a:rPr lang="ru-RU" sz="2000" dirty="0"/>
              <a:t> </a:t>
            </a:r>
          </a:p>
        </p:txBody>
      </p:sp>
      <p:sp>
        <p:nvSpPr>
          <p:cNvPr id="39" name="Rectangle 2"/>
          <p:cNvSpPr>
            <a:spLocks noChangeArrowheads="1"/>
          </p:cNvSpPr>
          <p:nvPr/>
        </p:nvSpPr>
        <p:spPr bwMode="auto">
          <a:xfrm>
            <a:off x="7709195" y="752172"/>
            <a:ext cx="4154341" cy="1429545"/>
          </a:xfrm>
          <a:prstGeom prst="rect">
            <a:avLst/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dist="107933" dir="2700000" algn="ctr" rotWithShape="0">
              <a:srgbClr val="808080">
                <a:alpha val="50026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lIns="83064" tIns="43193" rIns="83064" bIns="43193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2000" b="1" dirty="0"/>
              <a:t>Укомплектованность ДОУ педагогическими кадрами – </a:t>
            </a:r>
            <a:r>
              <a:rPr lang="ru-RU" sz="2000" b="1" dirty="0" smtClean="0"/>
              <a:t>92%</a:t>
            </a:r>
            <a:endParaRPr lang="ru-RU" sz="2000" b="1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058" y="4167980"/>
            <a:ext cx="2927407" cy="19304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804" y="1177411"/>
            <a:ext cx="2371089" cy="15329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1" name="Picture 4" descr="C:\Users\User\Desktop\686789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688288" y="4203754"/>
            <a:ext cx="2837104" cy="19148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2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1 «Дошкольное образование»</a:t>
            </a:r>
          </a:p>
        </p:txBody>
      </p:sp>
      <p:sp>
        <p:nvSpPr>
          <p:cNvPr id="27" name="Номер слайда 3">
            <a:extLst>
              <a:ext uri="{FF2B5EF4-FFF2-40B4-BE49-F238E27FC236}">
                <a16:creationId xmlns:a16="http://schemas.microsoft.com/office/drawing/2014/main" xmlns="" id="{CCB04952-186E-4629-A524-FE51521337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8368" y="6600953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7</a:t>
            </a:fld>
            <a:endParaRPr lang="en-US" altLang="ru-RU" dirty="0"/>
          </a:p>
        </p:txBody>
      </p:sp>
      <p:sp>
        <p:nvSpPr>
          <p:cNvPr id="26" name="Rectangle 2"/>
          <p:cNvSpPr>
            <a:spLocks noChangeArrowheads="1"/>
          </p:cNvSpPr>
          <p:nvPr/>
        </p:nvSpPr>
        <p:spPr bwMode="auto">
          <a:xfrm>
            <a:off x="3556047" y="4082151"/>
            <a:ext cx="4710073" cy="2518801"/>
          </a:xfrm>
          <a:prstGeom prst="rect">
            <a:avLst/>
          </a:prstGeom>
          <a:blipFill dpi="0" rotWithShape="0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>
            <a:outerShdw dist="107933" dir="2700000" algn="ctr" rotWithShape="0">
              <a:srgbClr val="808080">
                <a:alpha val="50026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lIns="83064" tIns="43193" rIns="83064" bIns="43193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7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sz="2000" b="1" dirty="0" smtClean="0"/>
              <a:t>Возрастной состав педагогов ДОУ</a:t>
            </a:r>
          </a:p>
          <a:p>
            <a:pPr algn="ctr"/>
            <a:endParaRPr lang="ru-RU" sz="2000" b="1" dirty="0" smtClean="0"/>
          </a:p>
          <a:p>
            <a:pPr algn="ctr"/>
            <a:endParaRPr lang="ru-RU" sz="2000" b="1" dirty="0" smtClean="0"/>
          </a:p>
          <a:p>
            <a:pPr algn="ctr"/>
            <a:endParaRPr lang="ru-RU" sz="2000" b="1" dirty="0"/>
          </a:p>
          <a:p>
            <a:pPr algn="ctr"/>
            <a:endParaRPr lang="ru-RU" sz="2000" b="1" dirty="0" smtClean="0"/>
          </a:p>
          <a:p>
            <a:pPr algn="ctr"/>
            <a:endParaRPr lang="ru-RU" sz="2000" b="1" dirty="0"/>
          </a:p>
          <a:p>
            <a:pPr algn="ctr"/>
            <a:endParaRPr lang="ru-RU" sz="2000" b="1" dirty="0" smtClean="0"/>
          </a:p>
          <a:p>
            <a:pPr algn="ctr"/>
            <a:endParaRPr lang="ru-RU" sz="2000" b="1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0732" y="4507438"/>
            <a:ext cx="4120702" cy="199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12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0191B1E1-5CC9-4501-BC6C-D4D08D93F858}"/>
              </a:ext>
            </a:extLst>
          </p:cNvPr>
          <p:cNvGrpSpPr/>
          <p:nvPr/>
        </p:nvGrpSpPr>
        <p:grpSpPr>
          <a:xfrm>
            <a:off x="214347" y="854129"/>
            <a:ext cx="11656832" cy="5536815"/>
            <a:chOff x="214347" y="854129"/>
            <a:chExt cx="11656832" cy="5536815"/>
          </a:xfrm>
        </p:grpSpPr>
        <p:sp>
          <p:nvSpPr>
            <p:cNvPr id="22" name="Rectangle 6">
              <a:extLst>
                <a:ext uri="{FF2B5EF4-FFF2-40B4-BE49-F238E27FC236}">
                  <a16:creationId xmlns:a16="http://schemas.microsoft.com/office/drawing/2014/main" xmlns="" id="{CC1F4E13-F7A3-453D-8ABD-86A46A027620}"/>
                </a:ext>
              </a:extLst>
            </p:cNvPr>
            <p:cNvSpPr/>
            <p:nvPr/>
          </p:nvSpPr>
          <p:spPr>
            <a:xfrm>
              <a:off x="2311656" y="1894387"/>
              <a:ext cx="9559523" cy="1240519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b="1" dirty="0">
                <a:solidFill>
                  <a:srgbClr val="002060"/>
                </a:solidFill>
              </a:endParaRPr>
            </a:p>
          </p:txBody>
        </p:sp>
        <p:sp>
          <p:nvSpPr>
            <p:cNvPr id="7" name="Rectangle 2">
              <a:extLst>
                <a:ext uri="{FF2B5EF4-FFF2-40B4-BE49-F238E27FC236}">
                  <a16:creationId xmlns:a16="http://schemas.microsoft.com/office/drawing/2014/main" xmlns="" id="{3146B4C5-7E3C-4F64-A8C1-3EB191722C7F}"/>
                </a:ext>
              </a:extLst>
            </p:cNvPr>
            <p:cNvSpPr/>
            <p:nvPr/>
          </p:nvSpPr>
          <p:spPr>
            <a:xfrm>
              <a:off x="2361283" y="999160"/>
              <a:ext cx="9458257" cy="73149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  <a:p>
              <a:pPr lvl="0"/>
              <a:endParaRPr lang="ru-RU" sz="1200" dirty="0">
                <a:solidFill>
                  <a:schemeClr val="tx1"/>
                </a:solidFill>
              </a:endParaRPr>
            </a:p>
            <a:p>
              <a:endParaRPr lang="ru-RU" sz="1400" dirty="0">
                <a:solidFill>
                  <a:srgbClr val="003366"/>
                </a:solidFill>
              </a:endParaRPr>
            </a:p>
            <a:p>
              <a:endParaRPr lang="ru-RU" sz="1400" dirty="0">
                <a:solidFill>
                  <a:srgbClr val="003366"/>
                </a:solidFill>
              </a:endParaRPr>
            </a:p>
            <a:p>
              <a:endParaRPr lang="ru-RU" sz="1400" dirty="0">
                <a:solidFill>
                  <a:srgbClr val="003366"/>
                </a:solidFill>
              </a:endParaRPr>
            </a:p>
            <a:p>
              <a:endParaRPr lang="ru-RU" sz="1400" dirty="0">
                <a:solidFill>
                  <a:srgbClr val="003366"/>
                </a:solidFill>
              </a:endParaRPr>
            </a:p>
            <a:p>
              <a:endParaRPr lang="ru-RU" sz="1400" dirty="0">
                <a:solidFill>
                  <a:srgbClr val="003366"/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ru-RU" sz="1400" dirty="0">
                  <a:solidFill>
                    <a:srgbClr val="003366"/>
                  </a:solidFill>
                </a:rPr>
                <a:t>Педагогов в возрасте до 30 лет в ДОУ города Братска насчитывается </a:t>
              </a:r>
              <a:r>
                <a:rPr lang="ru-RU" sz="1400" b="1" dirty="0" smtClean="0">
                  <a:solidFill>
                    <a:srgbClr val="003366"/>
                  </a:solidFill>
                </a:rPr>
                <a:t>213 </a:t>
              </a:r>
              <a:r>
                <a:rPr lang="ru-RU" sz="1400" dirty="0" smtClean="0">
                  <a:solidFill>
                    <a:srgbClr val="003366"/>
                  </a:solidFill>
                </a:rPr>
                <a:t>человек </a:t>
              </a:r>
              <a:r>
                <a:rPr lang="ru-RU" sz="1400" dirty="0">
                  <a:solidFill>
                    <a:srgbClr val="003366"/>
                  </a:solidFill>
                </a:rPr>
                <a:t>(</a:t>
              </a:r>
              <a:r>
                <a:rPr lang="ru-RU" sz="1400" dirty="0" smtClean="0">
                  <a:solidFill>
                    <a:srgbClr val="003366"/>
                  </a:solidFill>
                </a:rPr>
                <a:t>14%);</a:t>
              </a:r>
              <a:endParaRPr lang="ru-RU" sz="1400" dirty="0">
                <a:solidFill>
                  <a:srgbClr val="003366"/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ru-RU" sz="1400" dirty="0">
                  <a:solidFill>
                    <a:srgbClr val="003366"/>
                  </a:solidFill>
                </a:rPr>
                <a:t>Молодых специалистов со стажем </a:t>
              </a:r>
              <a:r>
                <a:rPr lang="ru-RU" sz="1400" dirty="0" smtClean="0">
                  <a:solidFill>
                    <a:srgbClr val="003366"/>
                  </a:solidFill>
                </a:rPr>
                <a:t>работы до </a:t>
              </a:r>
              <a:r>
                <a:rPr lang="ru-RU" sz="1400" dirty="0">
                  <a:solidFill>
                    <a:srgbClr val="003366"/>
                  </a:solidFill>
                </a:rPr>
                <a:t>3 лет – </a:t>
              </a:r>
              <a:r>
                <a:rPr lang="ru-RU" sz="1400" b="1" dirty="0" smtClean="0">
                  <a:solidFill>
                    <a:srgbClr val="003366"/>
                  </a:solidFill>
                </a:rPr>
                <a:t>213 </a:t>
              </a:r>
              <a:r>
                <a:rPr lang="ru-RU" sz="1400" dirty="0" smtClean="0">
                  <a:solidFill>
                    <a:srgbClr val="003366"/>
                  </a:solidFill>
                </a:rPr>
                <a:t>человек (14%)</a:t>
              </a:r>
              <a:endParaRPr lang="ru-RU" sz="1600" dirty="0">
                <a:solidFill>
                  <a:srgbClr val="003366"/>
                </a:solidFill>
              </a:endParaRPr>
            </a:p>
            <a:p>
              <a:pPr lvl="0"/>
              <a:endParaRPr lang="ru-RU" sz="1200" dirty="0">
                <a:solidFill>
                  <a:schemeClr val="tx1"/>
                </a:solidFill>
              </a:endParaRPr>
            </a:p>
            <a:p>
              <a:pPr lvl="0" algn="ctr"/>
              <a:endParaRPr lang="ru-RU" sz="1600" dirty="0"/>
            </a:p>
            <a:p>
              <a:r>
                <a:rPr lang="ru-RU" dirty="0">
                  <a:solidFill>
                    <a:srgbClr val="003366"/>
                  </a:solidFill>
                </a:rPr>
                <a:t> </a:t>
              </a:r>
              <a:r>
                <a:rPr lang="ru-RU" b="1" dirty="0" smtClean="0">
                  <a:solidFill>
                    <a:srgbClr val="003366"/>
                  </a:solidFill>
                </a:rPr>
                <a:t>Повышение </a:t>
              </a:r>
              <a:r>
                <a:rPr lang="ru-RU" b="1" dirty="0" err="1">
                  <a:solidFill>
                    <a:srgbClr val="003366"/>
                  </a:solidFill>
                </a:rPr>
                <a:t>категорийного</a:t>
              </a:r>
              <a:r>
                <a:rPr lang="ru-RU" b="1" dirty="0">
                  <a:solidFill>
                    <a:srgbClr val="003366"/>
                  </a:solidFill>
                </a:rPr>
                <a:t> уровня педагогических работников: </a:t>
              </a:r>
            </a:p>
            <a:p>
              <a:pPr marL="285750" indent="-285750">
                <a:buFontTx/>
                <a:buChar char="-"/>
              </a:pPr>
              <a:r>
                <a:rPr lang="ru-RU" sz="1600" b="1" dirty="0" smtClean="0">
                  <a:solidFill>
                    <a:srgbClr val="003366"/>
                  </a:solidFill>
                </a:rPr>
                <a:t>834</a:t>
              </a:r>
              <a:r>
                <a:rPr lang="ru-RU" sz="1600" dirty="0" smtClean="0">
                  <a:solidFill>
                    <a:srgbClr val="003366"/>
                  </a:solidFill>
                </a:rPr>
                <a:t> </a:t>
              </a:r>
              <a:r>
                <a:rPr lang="ru-RU" sz="1600" dirty="0">
                  <a:solidFill>
                    <a:srgbClr val="003366"/>
                  </a:solidFill>
                </a:rPr>
                <a:t>педагогов (</a:t>
              </a:r>
              <a:r>
                <a:rPr lang="ru-RU" sz="1600" dirty="0" smtClean="0">
                  <a:solidFill>
                    <a:srgbClr val="003366"/>
                  </a:solidFill>
                </a:rPr>
                <a:t>54%) </a:t>
              </a:r>
              <a:r>
                <a:rPr lang="ru-RU" sz="1600" dirty="0">
                  <a:solidFill>
                    <a:srgbClr val="003366"/>
                  </a:solidFill>
                </a:rPr>
                <a:t>имеют квалификационные категории (</a:t>
              </a:r>
              <a:r>
                <a:rPr lang="ru-RU" sz="1600" dirty="0" smtClean="0">
                  <a:solidFill>
                    <a:srgbClr val="003366"/>
                  </a:solidFill>
                </a:rPr>
                <a:t>2022 год </a:t>
              </a:r>
              <a:r>
                <a:rPr lang="ru-RU" sz="1600" dirty="0">
                  <a:solidFill>
                    <a:srgbClr val="003366"/>
                  </a:solidFill>
                </a:rPr>
                <a:t>– </a:t>
              </a:r>
              <a:r>
                <a:rPr lang="ru-RU" sz="1600" dirty="0" smtClean="0">
                  <a:solidFill>
                    <a:srgbClr val="003366"/>
                  </a:solidFill>
                </a:rPr>
                <a:t>864 педагогов (55%), </a:t>
              </a:r>
              <a:endParaRPr lang="ru-RU" sz="1600" dirty="0">
                <a:solidFill>
                  <a:srgbClr val="003366"/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ru-RU" sz="1600" dirty="0">
                  <a:solidFill>
                    <a:srgbClr val="003366"/>
                  </a:solidFill>
                </a:rPr>
                <a:t>из них </a:t>
              </a:r>
              <a:r>
                <a:rPr lang="ru-RU" sz="1600" dirty="0" smtClean="0">
                  <a:solidFill>
                    <a:srgbClr val="003366"/>
                  </a:solidFill>
                </a:rPr>
                <a:t>313</a:t>
              </a:r>
              <a:r>
                <a:rPr lang="ru-RU" sz="1600" b="1" dirty="0" smtClean="0">
                  <a:solidFill>
                    <a:srgbClr val="003366"/>
                  </a:solidFill>
                </a:rPr>
                <a:t> </a:t>
              </a:r>
              <a:r>
                <a:rPr lang="ru-RU" sz="1600" b="1" dirty="0">
                  <a:solidFill>
                    <a:srgbClr val="003366"/>
                  </a:solidFill>
                </a:rPr>
                <a:t>– высшую</a:t>
              </a:r>
              <a:r>
                <a:rPr lang="ru-RU" sz="1600" dirty="0">
                  <a:solidFill>
                    <a:srgbClr val="003366"/>
                  </a:solidFill>
                </a:rPr>
                <a:t>, </a:t>
              </a:r>
              <a:r>
                <a:rPr lang="ru-RU" sz="1600" dirty="0" smtClean="0">
                  <a:solidFill>
                    <a:srgbClr val="003366"/>
                  </a:solidFill>
                </a:rPr>
                <a:t>20% </a:t>
              </a:r>
              <a:r>
                <a:rPr lang="ru-RU" sz="1600" dirty="0">
                  <a:solidFill>
                    <a:srgbClr val="003366"/>
                  </a:solidFill>
                </a:rPr>
                <a:t>(</a:t>
              </a:r>
              <a:r>
                <a:rPr lang="ru-RU" sz="1600" dirty="0" smtClean="0">
                  <a:solidFill>
                    <a:srgbClr val="003366"/>
                  </a:solidFill>
                </a:rPr>
                <a:t>2022 </a:t>
              </a:r>
              <a:r>
                <a:rPr lang="ru-RU" sz="1600" dirty="0">
                  <a:solidFill>
                    <a:srgbClr val="003366"/>
                  </a:solidFill>
                </a:rPr>
                <a:t>год </a:t>
              </a:r>
              <a:r>
                <a:rPr lang="ru-RU" sz="1600" dirty="0" smtClean="0">
                  <a:solidFill>
                    <a:srgbClr val="003366"/>
                  </a:solidFill>
                </a:rPr>
                <a:t>– 280 чел.,18%);</a:t>
              </a:r>
              <a:endParaRPr lang="ru-RU" sz="1600" dirty="0">
                <a:solidFill>
                  <a:srgbClr val="003366"/>
                </a:solidFill>
              </a:endParaRPr>
            </a:p>
            <a:p>
              <a:pPr marL="285750" indent="-285750">
                <a:buFontTx/>
                <a:buChar char="-"/>
              </a:pPr>
              <a:r>
                <a:rPr lang="ru-RU" sz="1600" b="1" dirty="0" smtClean="0">
                  <a:solidFill>
                    <a:srgbClr val="003366"/>
                  </a:solidFill>
                </a:rPr>
                <a:t>521 </a:t>
              </a:r>
              <a:r>
                <a:rPr lang="ru-RU" sz="1600" b="1" dirty="0">
                  <a:solidFill>
                    <a:srgbClr val="003366"/>
                  </a:solidFill>
                </a:rPr>
                <a:t>– первую</a:t>
              </a:r>
              <a:r>
                <a:rPr lang="ru-RU" sz="1600" dirty="0">
                  <a:solidFill>
                    <a:srgbClr val="003366"/>
                  </a:solidFill>
                </a:rPr>
                <a:t>, </a:t>
              </a:r>
              <a:r>
                <a:rPr lang="ru-RU" sz="1600" dirty="0" smtClean="0">
                  <a:solidFill>
                    <a:srgbClr val="003366"/>
                  </a:solidFill>
                </a:rPr>
                <a:t>33,5% </a:t>
              </a:r>
              <a:r>
                <a:rPr lang="ru-RU" sz="1600" dirty="0">
                  <a:solidFill>
                    <a:srgbClr val="003366"/>
                  </a:solidFill>
                </a:rPr>
                <a:t>(</a:t>
              </a:r>
              <a:r>
                <a:rPr lang="ru-RU" sz="1600" dirty="0" smtClean="0">
                  <a:solidFill>
                    <a:srgbClr val="003366"/>
                  </a:solidFill>
                </a:rPr>
                <a:t>2022 год </a:t>
              </a:r>
              <a:r>
                <a:rPr lang="ru-RU" sz="1600" dirty="0">
                  <a:solidFill>
                    <a:srgbClr val="003366"/>
                  </a:solidFill>
                </a:rPr>
                <a:t>- </a:t>
              </a:r>
              <a:r>
                <a:rPr lang="ru-RU" sz="1600" dirty="0" smtClean="0">
                  <a:solidFill>
                    <a:srgbClr val="003366"/>
                  </a:solidFill>
                </a:rPr>
                <a:t>584 чел., 37%).</a:t>
              </a:r>
              <a:r>
                <a:rPr lang="ru-RU" dirty="0" smtClean="0">
                  <a:solidFill>
                    <a:srgbClr val="003366"/>
                  </a:solidFill>
                </a:rPr>
                <a:t>  </a:t>
              </a:r>
              <a:endParaRPr lang="ru-RU" dirty="0">
                <a:solidFill>
                  <a:srgbClr val="003366"/>
                </a:solidFill>
              </a:endParaRPr>
            </a:p>
          </p:txBody>
        </p:sp>
        <p:sp>
          <p:nvSpPr>
            <p:cNvPr id="5" name="Rectangle: Rounded Corners 1">
              <a:extLst>
                <a:ext uri="{FF2B5EF4-FFF2-40B4-BE49-F238E27FC236}">
                  <a16:creationId xmlns:a16="http://schemas.microsoft.com/office/drawing/2014/main" xmlns="" id="{9792DA7F-7C25-442A-8D71-ED2C4FF34DA1}"/>
                </a:ext>
              </a:extLst>
            </p:cNvPr>
            <p:cNvSpPr/>
            <p:nvPr/>
          </p:nvSpPr>
          <p:spPr>
            <a:xfrm>
              <a:off x="272309" y="875079"/>
              <a:ext cx="1877568" cy="1215280"/>
            </a:xfrm>
            <a:prstGeom prst="roundRect">
              <a:avLst>
                <a:gd name="adj" fmla="val 6311"/>
              </a:avLst>
            </a:prstGeom>
            <a:solidFill>
              <a:schemeClr val="accent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Rounded Corners 7">
              <a:extLst>
                <a:ext uri="{FF2B5EF4-FFF2-40B4-BE49-F238E27FC236}">
                  <a16:creationId xmlns:a16="http://schemas.microsoft.com/office/drawing/2014/main" xmlns="" id="{1010B4E6-59A1-41CF-A1D4-32CF075B4938}"/>
                </a:ext>
              </a:extLst>
            </p:cNvPr>
            <p:cNvSpPr/>
            <p:nvPr/>
          </p:nvSpPr>
          <p:spPr>
            <a:xfrm>
              <a:off x="263508" y="2268247"/>
              <a:ext cx="1792224" cy="1182624"/>
            </a:xfrm>
            <a:prstGeom prst="roundRect">
              <a:avLst>
                <a:gd name="adj" fmla="val 6311"/>
              </a:avLst>
            </a:prstGeom>
            <a:solidFill>
              <a:schemeClr val="accent1"/>
            </a:solidFill>
            <a:ln w="571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Rectangle: Rounded Corners 7">
              <a:extLst>
                <a:ext uri="{FF2B5EF4-FFF2-40B4-BE49-F238E27FC236}">
                  <a16:creationId xmlns:a16="http://schemas.microsoft.com/office/drawing/2014/main" xmlns="" id="{1010B4E6-59A1-41CF-A1D4-32CF075B4938}"/>
                </a:ext>
              </a:extLst>
            </p:cNvPr>
            <p:cNvSpPr/>
            <p:nvPr/>
          </p:nvSpPr>
          <p:spPr>
            <a:xfrm>
              <a:off x="214347" y="3785938"/>
              <a:ext cx="3518588" cy="1281895"/>
            </a:xfrm>
            <a:prstGeom prst="roundRect">
              <a:avLst>
                <a:gd name="adj" fmla="val 631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003366"/>
                  </a:solidFill>
                </a:rPr>
                <a:t>Формы обучения в рамках формального и неформального образования: очная, очно-заочная, заочная, в </a:t>
              </a:r>
              <a:r>
                <a:rPr lang="ru-RU" sz="1200" dirty="0" err="1">
                  <a:solidFill>
                    <a:srgbClr val="003366"/>
                  </a:solidFill>
                </a:rPr>
                <a:t>т.ч</a:t>
              </a:r>
              <a:r>
                <a:rPr lang="ru-RU" sz="1200" dirty="0">
                  <a:solidFill>
                    <a:srgbClr val="003366"/>
                  </a:solidFill>
                </a:rPr>
                <a:t>. и дистанционная, с использованием современных информационно-коммуникационных технологий</a:t>
              </a:r>
              <a:endParaRPr lang="ru-RU" sz="12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51" name="Rectangle 6">
              <a:extLst>
                <a:ext uri="{FF2B5EF4-FFF2-40B4-BE49-F238E27FC236}">
                  <a16:creationId xmlns:a16="http://schemas.microsoft.com/office/drawing/2014/main" xmlns="" id="{CC1F4E13-F7A3-453D-8ABD-86A46A027620}"/>
                </a:ext>
              </a:extLst>
            </p:cNvPr>
            <p:cNvSpPr/>
            <p:nvPr/>
          </p:nvSpPr>
          <p:spPr>
            <a:xfrm>
              <a:off x="7141831" y="4030852"/>
              <a:ext cx="4533074" cy="193815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1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 smtClean="0">
                  <a:solidFill>
                    <a:srgbClr val="003366"/>
                  </a:solidFill>
                </a:rPr>
                <a:t>- </a:t>
              </a:r>
              <a:r>
                <a:rPr lang="ru-RU" sz="1400" dirty="0">
                  <a:solidFill>
                    <a:srgbClr val="003366"/>
                  </a:solidFill>
                </a:rPr>
                <a:t>«Золотое сердце», сегодня в нем участвуют педагоги 30 ДОУ. </a:t>
              </a:r>
            </a:p>
            <a:p>
              <a:r>
                <a:rPr lang="ru-RU" sz="1400" dirty="0">
                  <a:solidFill>
                    <a:srgbClr val="003366"/>
                  </a:solidFill>
                </a:rPr>
                <a:t>-«Управленческие идеи» для руководителей ДОУ (</a:t>
              </a:r>
              <a:r>
                <a:rPr lang="ru-RU" sz="1400" dirty="0" err="1">
                  <a:solidFill>
                    <a:srgbClr val="003366"/>
                  </a:solidFill>
                </a:rPr>
                <a:t>взаимообучение</a:t>
              </a:r>
              <a:r>
                <a:rPr lang="ru-RU" sz="1400" dirty="0">
                  <a:solidFill>
                    <a:srgbClr val="003366"/>
                  </a:solidFill>
                </a:rPr>
                <a:t> заведующих), </a:t>
              </a:r>
            </a:p>
            <a:p>
              <a:r>
                <a:rPr lang="ru-RU" sz="1400" dirty="0">
                  <a:solidFill>
                    <a:srgbClr val="003366"/>
                  </a:solidFill>
                </a:rPr>
                <a:t>- «Школа продвинутого педагога. Перезагрузка». </a:t>
              </a:r>
            </a:p>
            <a:p>
              <a:r>
                <a:rPr lang="ru-RU" sz="1400" dirty="0">
                  <a:solidFill>
                    <a:srgbClr val="003366"/>
                  </a:solidFill>
                </a:rPr>
                <a:t>За три года </a:t>
              </a:r>
              <a:r>
                <a:rPr lang="ru-RU" sz="1400" dirty="0" smtClean="0">
                  <a:solidFill>
                    <a:srgbClr val="003366"/>
                  </a:solidFill>
                </a:rPr>
                <a:t>100% </a:t>
              </a:r>
              <a:r>
                <a:rPr lang="ru-RU" sz="1400" dirty="0">
                  <a:solidFill>
                    <a:srgbClr val="003366"/>
                  </a:solidFill>
                </a:rPr>
                <a:t>педагогов ДОУ (1 </a:t>
              </a:r>
              <a:r>
                <a:rPr lang="ru-RU" sz="1400" dirty="0" smtClean="0">
                  <a:solidFill>
                    <a:srgbClr val="003366"/>
                  </a:solidFill>
                </a:rPr>
                <a:t>552 </a:t>
              </a:r>
              <a:r>
                <a:rPr lang="ru-RU" sz="1400" dirty="0">
                  <a:solidFill>
                    <a:srgbClr val="003366"/>
                  </a:solidFill>
                </a:rPr>
                <a:t>чел.) прошли курсы повышения квалификации.</a:t>
              </a:r>
            </a:p>
            <a:p>
              <a:endParaRPr lang="ru-RU" sz="1400" dirty="0">
                <a:solidFill>
                  <a:srgbClr val="003366"/>
                </a:solidFill>
              </a:endParaRPr>
            </a:p>
          </p:txBody>
        </p:sp>
        <p:sp>
          <p:nvSpPr>
            <p:cNvPr id="54" name="Rectangle: Rounded Corners 7">
              <a:extLst>
                <a:ext uri="{FF2B5EF4-FFF2-40B4-BE49-F238E27FC236}">
                  <a16:creationId xmlns:a16="http://schemas.microsoft.com/office/drawing/2014/main" xmlns="" id="{1010B4E6-59A1-41CF-A1D4-32CF075B4938}"/>
                </a:ext>
              </a:extLst>
            </p:cNvPr>
            <p:cNvSpPr/>
            <p:nvPr/>
          </p:nvSpPr>
          <p:spPr>
            <a:xfrm>
              <a:off x="214347" y="5227222"/>
              <a:ext cx="3518588" cy="1163722"/>
            </a:xfrm>
            <a:prstGeom prst="roundRect">
              <a:avLst>
                <a:gd name="adj" fmla="val 631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57150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003366"/>
                  </a:solidFill>
                </a:rPr>
                <a:t>Успешно работают сетевые сообщества, мастерские по освоению современных технологий, Школы резерва для будущих руководителей и старших воспитателей ДОУ</a:t>
              </a:r>
              <a:endPara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2760" y="2187475"/>
              <a:ext cx="1792224" cy="134416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802"/>
            <a:stretch/>
          </p:blipFill>
          <p:spPr>
            <a:xfrm>
              <a:off x="242346" y="854129"/>
              <a:ext cx="1907531" cy="128189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4" name="Picture 3" descr="C:\Users\User\Desktop\4546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151784" y="3922652"/>
              <a:ext cx="2736304" cy="201599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984" y="234950"/>
            <a:ext cx="11724216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1 «Дошкольное образование»</a:t>
            </a:r>
          </a:p>
        </p:txBody>
      </p: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xmlns="" id="{49D6BCC5-A299-4562-82A0-498ABD4CCE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8368" y="6600953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8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144036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3E4B5CB-679C-4705-9A97-9A95BD22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260648"/>
            <a:ext cx="11724216" cy="369332"/>
          </a:xfrm>
        </p:spPr>
        <p:txBody>
          <a:bodyPr/>
          <a:lstStyle/>
          <a:p>
            <a:r>
              <a:rPr 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2 «Школьное образование»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AA870965-CF22-40CD-B46B-64A43258A9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47200" y="6623050"/>
            <a:ext cx="2540000" cy="276225"/>
          </a:xfrm>
        </p:spPr>
        <p:txBody>
          <a:bodyPr/>
          <a:lstStyle/>
          <a:p>
            <a:pPr>
              <a:defRPr/>
            </a:pPr>
            <a:fld id="{ACA097B0-8173-4D15-B709-DF10A2E83F09}" type="slidenum">
              <a:rPr lang="en-US" altLang="ru-RU" smtClean="0"/>
              <a:pPr>
                <a:defRPr/>
              </a:pPr>
              <a:t>9</a:t>
            </a:fld>
            <a:endParaRPr lang="en-US" alt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5400" y="1303999"/>
            <a:ext cx="10873208" cy="4308872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>
                <a:solidFill>
                  <a:srgbClr val="0033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ьное образование сегодня - это 40 общеобразовательных учреждений, из которых:</a:t>
            </a:r>
          </a:p>
          <a:p>
            <a:pPr marL="0" indent="0">
              <a:buNone/>
            </a:pPr>
            <a:endParaRPr lang="ru-RU" sz="2000" b="1" dirty="0">
              <a:solidFill>
                <a:srgbClr val="0033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-457200">
              <a:buAutoNum type="arabicParenR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образовательных учреждения - вечерние школы; 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-457200">
              <a:buAutoNum type="arabicParenR" startAt="2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образовательных учреждения - дневные школы, из них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0" indent="0">
              <a:buNone/>
            </a:pP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32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х общеобразовательных школы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1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ая общеобразовательная школа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1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образовательная гимназия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indent="0">
              <a:buNone/>
            </a:pP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3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образовательных лицея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28047" y="5433129"/>
            <a:ext cx="49518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ение контингента учащихся по ОУ </a:t>
            </a: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/>
          </p:nvPr>
        </p:nvGraphicFramePr>
        <p:xfrm>
          <a:off x="6528048" y="2609372"/>
          <a:ext cx="5284214" cy="3002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745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theme1.xml><?xml version="1.0" encoding="utf-8"?>
<a:theme xmlns:a="http://schemas.openxmlformats.org/drawingml/2006/main" name="11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68</TotalTime>
  <Words>1321</Words>
  <Application>Microsoft Office PowerPoint</Application>
  <PresentationFormat>Широкоэкранный</PresentationFormat>
  <Paragraphs>236</Paragraphs>
  <Slides>15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15</vt:i4>
      </vt:variant>
    </vt:vector>
  </HeadingPairs>
  <TitlesOfParts>
    <vt:vector size="23" baseType="lpstr">
      <vt:lpstr>Microsoft YaHei</vt:lpstr>
      <vt:lpstr>宋体</vt:lpstr>
      <vt:lpstr>Arial</vt:lpstr>
      <vt:lpstr>Arial Black</vt:lpstr>
      <vt:lpstr>Calibri</vt:lpstr>
      <vt:lpstr>Gulim</vt:lpstr>
      <vt:lpstr>Times New Roman</vt:lpstr>
      <vt:lpstr>11_Universal Template_RU</vt:lpstr>
      <vt:lpstr>Презентация PowerPoint</vt:lpstr>
      <vt:lpstr>Муниципальное образование г. Братска</vt:lpstr>
      <vt:lpstr>  Подпрограмма 1 «Дошкольное образование»</vt:lpstr>
      <vt:lpstr>Подпрограмма 1 «Дошкольное образование»</vt:lpstr>
      <vt:lpstr>Презентация PowerPoint</vt:lpstr>
      <vt:lpstr>Подпрограмма 1 «Дошкольное образование»</vt:lpstr>
      <vt:lpstr>Подпрограмма 1 «Дошкольное образование»</vt:lpstr>
      <vt:lpstr>Подпрограмма 1 «Дошкольное образование»</vt:lpstr>
      <vt:lpstr>Подпрограмма 2 «Школьное образование»</vt:lpstr>
      <vt:lpstr>Удовлетворение запросов участников образовательных отношений</vt:lpstr>
      <vt:lpstr>Кадетское движение</vt:lpstr>
      <vt:lpstr>Презентация PowerPoint</vt:lpstr>
      <vt:lpstr>Контингент ОО в 2023-2024 учебном году</vt:lpstr>
      <vt:lpstr>Презентация PowerPoint</vt:lpstr>
      <vt:lpstr>Подпрограмма 2 «Школьное образование»</vt:lpstr>
    </vt:vector>
  </TitlesOfParts>
  <Company>Administration of Irkutsk reg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иколаев Иван Игоревич</dc:creator>
  <cp:lastModifiedBy>Федькина Дарья Павловна</cp:lastModifiedBy>
  <cp:revision>2259</cp:revision>
  <cp:lastPrinted>2022-01-19T09:50:56Z</cp:lastPrinted>
  <dcterms:created xsi:type="dcterms:W3CDTF">2014-04-19T02:28:48Z</dcterms:created>
  <dcterms:modified xsi:type="dcterms:W3CDTF">2023-10-02T08:02:11Z</dcterms:modified>
</cp:coreProperties>
</file>